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6" r:id="rId2"/>
    <p:sldId id="310" r:id="rId3"/>
    <p:sldId id="285" r:id="rId4"/>
    <p:sldId id="286" r:id="rId5"/>
    <p:sldId id="291" r:id="rId6"/>
    <p:sldId id="292" r:id="rId7"/>
    <p:sldId id="311" r:id="rId8"/>
    <p:sldId id="411" r:id="rId9"/>
    <p:sldId id="412" r:id="rId10"/>
    <p:sldId id="413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47" autoAdjust="0"/>
  </p:normalViewPr>
  <p:slideViewPr>
    <p:cSldViewPr snapToGrid="0">
      <p:cViewPr>
        <p:scale>
          <a:sx n="66" d="100"/>
          <a:sy n="66" d="100"/>
        </p:scale>
        <p:origin x="1506" y="83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D57409-780B-43BC-A1CC-806FFB417F69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AAC87E-7B83-4AFA-88DE-65F0777224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093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4129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971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26884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86EFD4-C600-449F-A0EF-C31FBFB18722}"/>
              </a:ext>
            </a:extLst>
          </p:cNvPr>
          <p:cNvSpPr txBox="1"/>
          <p:nvPr userDrawn="1"/>
        </p:nvSpPr>
        <p:spPr>
          <a:xfrm>
            <a:off x="355891" y="6364837"/>
            <a:ext cx="22401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chemeClr val="bg1">
                    <a:lumMod val="75000"/>
                  </a:schemeClr>
                </a:solidFill>
              </a:rPr>
              <a:t>www.website.com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7205A6-620A-463D-A812-FC889A644D01}"/>
              </a:ext>
            </a:extLst>
          </p:cNvPr>
          <p:cNvSpPr txBox="1"/>
          <p:nvPr userDrawn="1"/>
        </p:nvSpPr>
        <p:spPr>
          <a:xfrm>
            <a:off x="10999694" y="6364837"/>
            <a:ext cx="8364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fld id="{260E2A6B-A809-4840-BF14-8648BC0BDF87}" type="slidenum">
              <a:rPr lang="id-ID" smtClean="0"/>
              <a:pPr lvl="0"/>
              <a:t>‹#›</a:t>
            </a:fld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41038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8B4E8DC-D5BA-4A81-A855-91768B11A484}"/>
              </a:ext>
            </a:extLst>
          </p:cNvPr>
          <p:cNvGrpSpPr/>
          <p:nvPr/>
        </p:nvGrpSpPr>
        <p:grpSpPr>
          <a:xfrm>
            <a:off x="7278304" y="910771"/>
            <a:ext cx="6472861" cy="5036457"/>
            <a:chOff x="-457378" y="1669143"/>
            <a:chExt cx="6472861" cy="503645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4642F2C-85C9-4C27-98D7-7FDBC929D7F7}"/>
                </a:ext>
              </a:extLst>
            </p:cNvPr>
            <p:cNvGrpSpPr/>
            <p:nvPr/>
          </p:nvGrpSpPr>
          <p:grpSpPr>
            <a:xfrm>
              <a:off x="-457378" y="1669143"/>
              <a:ext cx="6472861" cy="5036457"/>
              <a:chOff x="-1123950" y="1372648"/>
              <a:chExt cx="7520488" cy="5851603"/>
            </a:xfrm>
          </p:grpSpPr>
          <p:sp>
            <p:nvSpPr>
              <p:cNvPr id="10" name="Freeform 31">
                <a:extLst>
                  <a:ext uri="{FF2B5EF4-FFF2-40B4-BE49-F238E27FC236}">
                    <a16:creationId xmlns:a16="http://schemas.microsoft.com/office/drawing/2014/main" id="{C4799371-6FA7-4974-8324-E58B6323F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123950" y="6076804"/>
                <a:ext cx="7520488" cy="1147447"/>
              </a:xfrm>
              <a:custGeom>
                <a:avLst/>
                <a:gdLst>
                  <a:gd name="T0" fmla="*/ 303 w 3000"/>
                  <a:gd name="T1" fmla="*/ 0 h 520"/>
                  <a:gd name="T2" fmla="*/ 0 w 3000"/>
                  <a:gd name="T3" fmla="*/ 520 h 520"/>
                  <a:gd name="T4" fmla="*/ 3000 w 3000"/>
                  <a:gd name="T5" fmla="*/ 520 h 520"/>
                  <a:gd name="T6" fmla="*/ 2698 w 3000"/>
                  <a:gd name="T7" fmla="*/ 0 h 520"/>
                  <a:gd name="T8" fmla="*/ 303 w 3000"/>
                  <a:gd name="T9" fmla="*/ 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0" h="520">
                    <a:moveTo>
                      <a:pt x="303" y="0"/>
                    </a:moveTo>
                    <a:lnTo>
                      <a:pt x="0" y="520"/>
                    </a:lnTo>
                    <a:lnTo>
                      <a:pt x="3000" y="520"/>
                    </a:lnTo>
                    <a:lnTo>
                      <a:pt x="2698" y="0"/>
                    </a:lnTo>
                    <a:lnTo>
                      <a:pt x="303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1" name="Freeform 31">
                <a:extLst>
                  <a:ext uri="{FF2B5EF4-FFF2-40B4-BE49-F238E27FC236}">
                    <a16:creationId xmlns:a16="http://schemas.microsoft.com/office/drawing/2014/main" id="{6B3F2DED-A3FA-4FB4-B469-2214FBD7E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36650" y="5127339"/>
                <a:ext cx="5968192" cy="910604"/>
              </a:xfrm>
              <a:custGeom>
                <a:avLst/>
                <a:gdLst>
                  <a:gd name="T0" fmla="*/ 303 w 3000"/>
                  <a:gd name="T1" fmla="*/ 0 h 520"/>
                  <a:gd name="T2" fmla="*/ 0 w 3000"/>
                  <a:gd name="T3" fmla="*/ 520 h 520"/>
                  <a:gd name="T4" fmla="*/ 3000 w 3000"/>
                  <a:gd name="T5" fmla="*/ 520 h 520"/>
                  <a:gd name="T6" fmla="*/ 2698 w 3000"/>
                  <a:gd name="T7" fmla="*/ 0 h 520"/>
                  <a:gd name="T8" fmla="*/ 303 w 3000"/>
                  <a:gd name="T9" fmla="*/ 0 h 5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00" h="520">
                    <a:moveTo>
                      <a:pt x="303" y="0"/>
                    </a:moveTo>
                    <a:lnTo>
                      <a:pt x="0" y="520"/>
                    </a:lnTo>
                    <a:lnTo>
                      <a:pt x="3000" y="520"/>
                    </a:lnTo>
                    <a:lnTo>
                      <a:pt x="2698" y="0"/>
                    </a:lnTo>
                    <a:lnTo>
                      <a:pt x="303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2" name="Freeform 32">
                <a:extLst>
                  <a:ext uri="{FF2B5EF4-FFF2-40B4-BE49-F238E27FC236}">
                    <a16:creationId xmlns:a16="http://schemas.microsoft.com/office/drawing/2014/main" id="{D88F42E0-0330-4091-815C-CDC833366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96" y="4309935"/>
                <a:ext cx="4681102" cy="782769"/>
              </a:xfrm>
              <a:custGeom>
                <a:avLst/>
                <a:gdLst>
                  <a:gd name="T0" fmla="*/ 2136 w 2395"/>
                  <a:gd name="T1" fmla="*/ 0 h 447"/>
                  <a:gd name="T2" fmla="*/ 259 w 2395"/>
                  <a:gd name="T3" fmla="*/ 0 h 447"/>
                  <a:gd name="T4" fmla="*/ 0 w 2395"/>
                  <a:gd name="T5" fmla="*/ 447 h 447"/>
                  <a:gd name="T6" fmla="*/ 2395 w 2395"/>
                  <a:gd name="T7" fmla="*/ 447 h 447"/>
                  <a:gd name="T8" fmla="*/ 2136 w 2395"/>
                  <a:gd name="T9" fmla="*/ 0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5" h="447">
                    <a:moveTo>
                      <a:pt x="2136" y="0"/>
                    </a:moveTo>
                    <a:lnTo>
                      <a:pt x="259" y="0"/>
                    </a:lnTo>
                    <a:lnTo>
                      <a:pt x="0" y="447"/>
                    </a:lnTo>
                    <a:lnTo>
                      <a:pt x="2395" y="447"/>
                    </a:lnTo>
                    <a:lnTo>
                      <a:pt x="2136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3" name="Freeform 33">
                <a:extLst>
                  <a:ext uri="{FF2B5EF4-FFF2-40B4-BE49-F238E27FC236}">
                    <a16:creationId xmlns:a16="http://schemas.microsoft.com/office/drawing/2014/main" id="{13040F0B-002F-40C1-BBF9-3949D164A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515" y="3475018"/>
                <a:ext cx="3637025" cy="800280"/>
              </a:xfrm>
              <a:custGeom>
                <a:avLst/>
                <a:gdLst>
                  <a:gd name="T0" fmla="*/ 1612 w 1877"/>
                  <a:gd name="T1" fmla="*/ 0 h 457"/>
                  <a:gd name="T2" fmla="*/ 264 w 1877"/>
                  <a:gd name="T3" fmla="*/ 0 h 457"/>
                  <a:gd name="T4" fmla="*/ 0 w 1877"/>
                  <a:gd name="T5" fmla="*/ 457 h 457"/>
                  <a:gd name="T6" fmla="*/ 1877 w 1877"/>
                  <a:gd name="T7" fmla="*/ 457 h 457"/>
                  <a:gd name="T8" fmla="*/ 1612 w 1877"/>
                  <a:gd name="T9" fmla="*/ 0 h 4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7" h="457">
                    <a:moveTo>
                      <a:pt x="1612" y="0"/>
                    </a:moveTo>
                    <a:lnTo>
                      <a:pt x="264" y="0"/>
                    </a:lnTo>
                    <a:lnTo>
                      <a:pt x="0" y="457"/>
                    </a:lnTo>
                    <a:lnTo>
                      <a:pt x="1877" y="457"/>
                    </a:lnTo>
                    <a:lnTo>
                      <a:pt x="1612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4" name="Freeform 34">
                <a:extLst>
                  <a:ext uri="{FF2B5EF4-FFF2-40B4-BE49-F238E27FC236}">
                    <a16:creationId xmlns:a16="http://schemas.microsoft.com/office/drawing/2014/main" id="{97E96F33-AB8F-4CC6-B8A2-87C4C8043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9900" y="2741670"/>
                <a:ext cx="2535711" cy="698713"/>
              </a:xfrm>
              <a:custGeom>
                <a:avLst/>
                <a:gdLst>
                  <a:gd name="T0" fmla="*/ 1116 w 1348"/>
                  <a:gd name="T1" fmla="*/ 0 h 399"/>
                  <a:gd name="T2" fmla="*/ 233 w 1348"/>
                  <a:gd name="T3" fmla="*/ 0 h 399"/>
                  <a:gd name="T4" fmla="*/ 0 w 1348"/>
                  <a:gd name="T5" fmla="*/ 399 h 399"/>
                  <a:gd name="T6" fmla="*/ 1348 w 1348"/>
                  <a:gd name="T7" fmla="*/ 399 h 399"/>
                  <a:gd name="T8" fmla="*/ 1116 w 1348"/>
                  <a:gd name="T9" fmla="*/ 0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8" h="399">
                    <a:moveTo>
                      <a:pt x="1116" y="0"/>
                    </a:moveTo>
                    <a:lnTo>
                      <a:pt x="233" y="0"/>
                    </a:lnTo>
                    <a:lnTo>
                      <a:pt x="0" y="399"/>
                    </a:lnTo>
                    <a:lnTo>
                      <a:pt x="1348" y="399"/>
                    </a:lnTo>
                    <a:lnTo>
                      <a:pt x="1116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scene3d>
                <a:camera prst="perspectiveRight" fov="0">
                  <a:rot lat="600000" lon="20399999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  <p:sp>
            <p:nvSpPr>
              <p:cNvPr id="15" name="Freeform 35">
                <a:extLst>
                  <a:ext uri="{FF2B5EF4-FFF2-40B4-BE49-F238E27FC236}">
                    <a16:creationId xmlns:a16="http://schemas.microsoft.com/office/drawing/2014/main" id="{0546A32B-BA92-460A-BFB6-C0A7694BD4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6020" y="1372648"/>
                <a:ext cx="1582017" cy="1334386"/>
              </a:xfrm>
              <a:custGeom>
                <a:avLst/>
                <a:gdLst>
                  <a:gd name="T0" fmla="*/ 441 w 883"/>
                  <a:gd name="T1" fmla="*/ 0 h 762"/>
                  <a:gd name="T2" fmla="*/ 0 w 883"/>
                  <a:gd name="T3" fmla="*/ 762 h 762"/>
                  <a:gd name="T4" fmla="*/ 883 w 883"/>
                  <a:gd name="T5" fmla="*/ 762 h 762"/>
                  <a:gd name="T6" fmla="*/ 441 w 883"/>
                  <a:gd name="T7" fmla="*/ 0 h 7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83" h="762">
                    <a:moveTo>
                      <a:pt x="441" y="0"/>
                    </a:moveTo>
                    <a:lnTo>
                      <a:pt x="0" y="762"/>
                    </a:lnTo>
                    <a:lnTo>
                      <a:pt x="883" y="762"/>
                    </a:lnTo>
                    <a:lnTo>
                      <a:pt x="441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scene3d>
                <a:camera prst="perspectiveRight" fov="0">
                  <a:rot lat="600000" lon="20400000" rev="0"/>
                </a:camera>
                <a:lightRig rig="threePt" dir="t"/>
              </a:scene3d>
              <a:sp3d z="177800">
                <a:bevelT w="0" h="1409700"/>
                <a:bevelB w="0" h="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dirty="0"/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772E668-1FDF-4A1F-991B-23A02300584C}"/>
                </a:ext>
              </a:extLst>
            </p:cNvPr>
            <p:cNvSpPr txBox="1"/>
            <p:nvPr/>
          </p:nvSpPr>
          <p:spPr>
            <a:xfrm>
              <a:off x="2270315" y="6054940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12,000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244A007-5443-4F04-9755-A665B53324BE}"/>
                </a:ext>
              </a:extLst>
            </p:cNvPr>
            <p:cNvSpPr txBox="1"/>
            <p:nvPr/>
          </p:nvSpPr>
          <p:spPr>
            <a:xfrm>
              <a:off x="2270315" y="5118723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11,300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F8105DB-B447-4009-AC9E-9398BD5E1CA0}"/>
                </a:ext>
              </a:extLst>
            </p:cNvPr>
            <p:cNvSpPr txBox="1"/>
            <p:nvPr/>
          </p:nvSpPr>
          <p:spPr>
            <a:xfrm>
              <a:off x="2270315" y="4371426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10,500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B8934D4-EADD-4790-87DF-332E8D73BFF8}"/>
                </a:ext>
              </a:extLst>
            </p:cNvPr>
            <p:cNvSpPr txBox="1"/>
            <p:nvPr/>
          </p:nvSpPr>
          <p:spPr>
            <a:xfrm>
              <a:off x="2270315" y="3640752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8,900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445112E-8748-4800-ADD8-06658398E3D9}"/>
                </a:ext>
              </a:extLst>
            </p:cNvPr>
            <p:cNvSpPr txBox="1"/>
            <p:nvPr/>
          </p:nvSpPr>
          <p:spPr>
            <a:xfrm>
              <a:off x="2270315" y="2997631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8,200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3D851EE-D97E-4B65-A60B-BEBED001FF03}"/>
                </a:ext>
              </a:extLst>
            </p:cNvPr>
            <p:cNvSpPr txBox="1"/>
            <p:nvPr/>
          </p:nvSpPr>
          <p:spPr>
            <a:xfrm>
              <a:off x="2270315" y="2354510"/>
              <a:ext cx="1061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$7,500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E7CC028-9793-4C4A-8ABC-C93A7733889B}"/>
              </a:ext>
            </a:extLst>
          </p:cNvPr>
          <p:cNvGrpSpPr/>
          <p:nvPr/>
        </p:nvGrpSpPr>
        <p:grpSpPr>
          <a:xfrm>
            <a:off x="4233939" y="2530937"/>
            <a:ext cx="573226" cy="573224"/>
            <a:chOff x="4177779" y="2633803"/>
            <a:chExt cx="717954" cy="71795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B24D69E-1823-46FB-9CBA-EE4E99622527}"/>
                </a:ext>
              </a:extLst>
            </p:cNvPr>
            <p:cNvSpPr/>
            <p:nvPr/>
          </p:nvSpPr>
          <p:spPr>
            <a:xfrm>
              <a:off x="4177779" y="2633803"/>
              <a:ext cx="717954" cy="717953"/>
            </a:xfrm>
            <a:prstGeom prst="ellipse">
              <a:avLst/>
            </a:prstGeom>
            <a:gradFill>
              <a:gsLst>
                <a:gs pos="0">
                  <a:schemeClr val="accent6"/>
                </a:gs>
                <a:gs pos="99000">
                  <a:schemeClr val="accent6">
                    <a:lumMod val="75000"/>
                  </a:scheme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>
              <a:outerShdw blurRad="2286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kern="0" dirty="0">
                <a:solidFill>
                  <a:prstClr val="white"/>
                </a:solidFill>
                <a:latin typeface="Calibri"/>
                <a:ea typeface="宋体"/>
              </a:endParaRPr>
            </a:p>
          </p:txBody>
        </p:sp>
        <p:grpSp>
          <p:nvGrpSpPr>
            <p:cNvPr id="18" name="Graphic 94">
              <a:extLst>
                <a:ext uri="{FF2B5EF4-FFF2-40B4-BE49-F238E27FC236}">
                  <a16:creationId xmlns:a16="http://schemas.microsoft.com/office/drawing/2014/main" id="{EBE5B3B8-CEDC-478E-8F29-7FBCEF9D93A1}"/>
                </a:ext>
              </a:extLst>
            </p:cNvPr>
            <p:cNvGrpSpPr/>
            <p:nvPr/>
          </p:nvGrpSpPr>
          <p:grpSpPr>
            <a:xfrm>
              <a:off x="4372731" y="2829074"/>
              <a:ext cx="328050" cy="327410"/>
              <a:chOff x="2083633" y="256705"/>
              <a:chExt cx="419725" cy="418905"/>
            </a:xfrm>
            <a:solidFill>
              <a:schemeClr val="bg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A846D495-4716-452B-B75E-36BFAB37D6D7}"/>
                  </a:ext>
                </a:extLst>
              </p:cNvPr>
              <p:cNvSpPr/>
              <p:nvPr/>
            </p:nvSpPr>
            <p:spPr>
              <a:xfrm>
                <a:off x="2083633" y="306563"/>
                <a:ext cx="196746" cy="306596"/>
              </a:xfrm>
              <a:custGeom>
                <a:avLst/>
                <a:gdLst>
                  <a:gd name="connsiteX0" fmla="*/ 184933 w 196746"/>
                  <a:gd name="connsiteY0" fmla="*/ 0 h 306595"/>
                  <a:gd name="connsiteX1" fmla="*/ 0 w 196746"/>
                  <a:gd name="connsiteY1" fmla="*/ 184931 h 306595"/>
                  <a:gd name="connsiteX2" fmla="*/ 45752 w 196746"/>
                  <a:gd name="connsiteY2" fmla="*/ 306723 h 306595"/>
                  <a:gd name="connsiteX3" fmla="*/ 197230 w 196746"/>
                  <a:gd name="connsiteY3" fmla="*/ 155247 h 306595"/>
                  <a:gd name="connsiteX4" fmla="*/ 197230 w 196746"/>
                  <a:gd name="connsiteY4" fmla="*/ 12297 h 306595"/>
                  <a:gd name="connsiteX5" fmla="*/ 184933 w 196746"/>
                  <a:gd name="connsiteY5" fmla="*/ 0 h 30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6746" h="306595">
                    <a:moveTo>
                      <a:pt x="184933" y="0"/>
                    </a:moveTo>
                    <a:cubicBezTo>
                      <a:pt x="82724" y="0"/>
                      <a:pt x="0" y="82706"/>
                      <a:pt x="0" y="184931"/>
                    </a:cubicBezTo>
                    <a:cubicBezTo>
                      <a:pt x="0" y="230214"/>
                      <a:pt x="16158" y="273007"/>
                      <a:pt x="45752" y="306723"/>
                    </a:cubicBezTo>
                    <a:cubicBezTo>
                      <a:pt x="46755" y="305720"/>
                      <a:pt x="195756" y="156721"/>
                      <a:pt x="197230" y="155247"/>
                    </a:cubicBezTo>
                    <a:cubicBezTo>
                      <a:pt x="197230" y="137621"/>
                      <a:pt x="197230" y="30114"/>
                      <a:pt x="197230" y="12297"/>
                    </a:cubicBezTo>
                    <a:cubicBezTo>
                      <a:pt x="197230" y="5509"/>
                      <a:pt x="191721" y="0"/>
                      <a:pt x="184933" y="0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121A911-FA1B-4E83-A7EA-FC8AF138F1C2}"/>
                  </a:ext>
                </a:extLst>
              </p:cNvPr>
              <p:cNvSpPr/>
              <p:nvPr/>
            </p:nvSpPr>
            <p:spPr>
              <a:xfrm>
                <a:off x="2146780" y="503848"/>
                <a:ext cx="126245" cy="172153"/>
              </a:xfrm>
              <a:custGeom>
                <a:avLst/>
                <a:gdLst>
                  <a:gd name="connsiteX0" fmla="*/ 126819 w 126245"/>
                  <a:gd name="connsiteY0" fmla="*/ 172502 h 172152"/>
                  <a:gd name="connsiteX1" fmla="*/ 126819 w 126245"/>
                  <a:gd name="connsiteY1" fmla="*/ 0 h 172152"/>
                  <a:gd name="connsiteX2" fmla="*/ 0 w 126245"/>
                  <a:gd name="connsiteY2" fmla="*/ 126825 h 172152"/>
                  <a:gd name="connsiteX3" fmla="*/ 126819 w 126245"/>
                  <a:gd name="connsiteY3" fmla="*/ 172502 h 172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245" h="172152">
                    <a:moveTo>
                      <a:pt x="126819" y="172502"/>
                    </a:moveTo>
                    <a:lnTo>
                      <a:pt x="126819" y="0"/>
                    </a:lnTo>
                    <a:lnTo>
                      <a:pt x="0" y="126825"/>
                    </a:lnTo>
                    <a:cubicBezTo>
                      <a:pt x="35933" y="158363"/>
                      <a:pt x="81336" y="173842"/>
                      <a:pt x="126819" y="172502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E610413D-98BF-4206-AB4E-D8C6E8F6AC77}"/>
                  </a:ext>
                </a:extLst>
              </p:cNvPr>
              <p:cNvSpPr/>
              <p:nvPr/>
            </p:nvSpPr>
            <p:spPr>
              <a:xfrm>
                <a:off x="2298193" y="479197"/>
                <a:ext cx="154938" cy="194287"/>
              </a:xfrm>
              <a:custGeom>
                <a:avLst/>
                <a:gdLst>
                  <a:gd name="connsiteX0" fmla="*/ 143010 w 154937"/>
                  <a:gd name="connsiteY0" fmla="*/ 0 h 194286"/>
                  <a:gd name="connsiteX1" fmla="*/ 57 w 154937"/>
                  <a:gd name="connsiteY1" fmla="*/ 0 h 194286"/>
                  <a:gd name="connsiteX2" fmla="*/ 0 w 154937"/>
                  <a:gd name="connsiteY2" fmla="*/ 194874 h 194286"/>
                  <a:gd name="connsiteX3" fmla="*/ 101136 w 154937"/>
                  <a:gd name="connsiteY3" fmla="*/ 143065 h 194286"/>
                  <a:gd name="connsiteX4" fmla="*/ 155306 w 154937"/>
                  <a:gd name="connsiteY4" fmla="*/ 12296 h 194286"/>
                  <a:gd name="connsiteX5" fmla="*/ 143010 w 154937"/>
                  <a:gd name="connsiteY5" fmla="*/ 0 h 194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4937" h="194286">
                    <a:moveTo>
                      <a:pt x="143010" y="0"/>
                    </a:moveTo>
                    <a:lnTo>
                      <a:pt x="57" y="0"/>
                    </a:lnTo>
                    <a:lnTo>
                      <a:pt x="0" y="194874"/>
                    </a:lnTo>
                    <a:cubicBezTo>
                      <a:pt x="38000" y="188803"/>
                      <a:pt x="73231" y="170983"/>
                      <a:pt x="101136" y="143065"/>
                    </a:cubicBezTo>
                    <a:cubicBezTo>
                      <a:pt x="136066" y="108135"/>
                      <a:pt x="155306" y="61695"/>
                      <a:pt x="155306" y="12296"/>
                    </a:cubicBezTo>
                    <a:cubicBezTo>
                      <a:pt x="155306" y="5509"/>
                      <a:pt x="149798" y="0"/>
                      <a:pt x="143010" y="0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9D688D69-1FC8-4CE6-B9BA-2D3A3E540903}"/>
                  </a:ext>
                </a:extLst>
              </p:cNvPr>
              <p:cNvSpPr/>
              <p:nvPr/>
            </p:nvSpPr>
            <p:spPr>
              <a:xfrm>
                <a:off x="2306127" y="256705"/>
                <a:ext cx="196746" cy="196746"/>
              </a:xfrm>
              <a:custGeom>
                <a:avLst/>
                <a:gdLst>
                  <a:gd name="connsiteX0" fmla="*/ 143060 w 196746"/>
                  <a:gd name="connsiteY0" fmla="*/ 54170 h 196746"/>
                  <a:gd name="connsiteX1" fmla="*/ 12297 w 196746"/>
                  <a:gd name="connsiteY1" fmla="*/ 0 h 196746"/>
                  <a:gd name="connsiteX2" fmla="*/ 0 w 196746"/>
                  <a:gd name="connsiteY2" fmla="*/ 12297 h 196746"/>
                  <a:gd name="connsiteX3" fmla="*/ 0 w 196746"/>
                  <a:gd name="connsiteY3" fmla="*/ 184931 h 196746"/>
                  <a:gd name="connsiteX4" fmla="*/ 12297 w 196746"/>
                  <a:gd name="connsiteY4" fmla="*/ 197227 h 196746"/>
                  <a:gd name="connsiteX5" fmla="*/ 184935 w 196746"/>
                  <a:gd name="connsiteY5" fmla="*/ 197227 h 196746"/>
                  <a:gd name="connsiteX6" fmla="*/ 197231 w 196746"/>
                  <a:gd name="connsiteY6" fmla="*/ 184931 h 196746"/>
                  <a:gd name="connsiteX7" fmla="*/ 143060 w 196746"/>
                  <a:gd name="connsiteY7" fmla="*/ 54170 h 196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6746" h="196746">
                    <a:moveTo>
                      <a:pt x="143060" y="54170"/>
                    </a:moveTo>
                    <a:cubicBezTo>
                      <a:pt x="108129" y="19240"/>
                      <a:pt x="61689" y="0"/>
                      <a:pt x="12297" y="0"/>
                    </a:cubicBezTo>
                    <a:cubicBezTo>
                      <a:pt x="5501" y="0"/>
                      <a:pt x="0" y="5509"/>
                      <a:pt x="0" y="12297"/>
                    </a:cubicBezTo>
                    <a:lnTo>
                      <a:pt x="0" y="184931"/>
                    </a:lnTo>
                    <a:cubicBezTo>
                      <a:pt x="0" y="191704"/>
                      <a:pt x="5479" y="197227"/>
                      <a:pt x="12297" y="197227"/>
                    </a:cubicBezTo>
                    <a:lnTo>
                      <a:pt x="184935" y="197227"/>
                    </a:lnTo>
                    <a:cubicBezTo>
                      <a:pt x="191723" y="197227"/>
                      <a:pt x="197231" y="191727"/>
                      <a:pt x="197231" y="184931"/>
                    </a:cubicBezTo>
                    <a:cubicBezTo>
                      <a:pt x="197231" y="135539"/>
                      <a:pt x="177991" y="89100"/>
                      <a:pt x="143060" y="54170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7706A94-4900-4BAC-B460-59C6704B6987}"/>
              </a:ext>
            </a:extLst>
          </p:cNvPr>
          <p:cNvGrpSpPr/>
          <p:nvPr/>
        </p:nvGrpSpPr>
        <p:grpSpPr>
          <a:xfrm>
            <a:off x="5013961" y="2282747"/>
            <a:ext cx="2520490" cy="959503"/>
            <a:chOff x="1052845" y="1889509"/>
            <a:chExt cx="2520490" cy="95950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54CC692-66A4-4884-A3EF-2A2C153A9FB4}"/>
                </a:ext>
              </a:extLst>
            </p:cNvPr>
            <p:cNvSpPr txBox="1"/>
            <p:nvPr/>
          </p:nvSpPr>
          <p:spPr>
            <a:xfrm>
              <a:off x="1177150" y="2176998"/>
              <a:ext cx="2396185" cy="667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Lorem ipsum dolor sit </a:t>
              </a:r>
              <a:r>
                <a:rPr lang="en-US" sz="1400" dirty="0" err="1">
                  <a:solidFill>
                    <a:schemeClr val="bg1"/>
                  </a:solidFill>
                  <a:latin typeface="+mj-lt"/>
                </a:rPr>
                <a:t>amet</a:t>
              </a: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, </a:t>
              </a:r>
              <a:r>
                <a:rPr lang="en-US" sz="1400" dirty="0" err="1">
                  <a:solidFill>
                    <a:schemeClr val="bg1"/>
                  </a:solidFill>
                  <a:latin typeface="+mj-lt"/>
                </a:rPr>
                <a:t>consectetur</a:t>
              </a: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+mj-lt"/>
                </a:rPr>
                <a:t>adipiscing</a:t>
              </a: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US" sz="1400" dirty="0" err="1">
                  <a:solidFill>
                    <a:schemeClr val="bg1"/>
                  </a:solidFill>
                  <a:latin typeface="+mj-lt"/>
                </a:rPr>
                <a:t>elit</a:t>
              </a: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, 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9A43490-A5A5-41CC-81EB-1F20B3486963}"/>
                </a:ext>
              </a:extLst>
            </p:cNvPr>
            <p:cNvCxnSpPr>
              <a:cxnSpLocks/>
            </p:cNvCxnSpPr>
            <p:nvPr/>
          </p:nvCxnSpPr>
          <p:spPr>
            <a:xfrm>
              <a:off x="1075704" y="1971901"/>
              <a:ext cx="0" cy="877111"/>
            </a:xfrm>
            <a:prstGeom prst="line">
              <a:avLst/>
            </a:prstGeom>
            <a:ln>
              <a:solidFill>
                <a:schemeClr val="bg1">
                  <a:lumMod val="50000"/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60F4F1A3-6B91-41E4-80F9-AE476F6BC320}"/>
                </a:ext>
              </a:extLst>
            </p:cNvPr>
            <p:cNvSpPr/>
            <p:nvPr/>
          </p:nvSpPr>
          <p:spPr>
            <a:xfrm>
              <a:off x="1052845" y="2157659"/>
              <a:ext cx="45719" cy="505595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3AAA79CF-04D3-4F14-96B4-DE62D224FA2B}"/>
                </a:ext>
              </a:extLst>
            </p:cNvPr>
            <p:cNvSpPr/>
            <p:nvPr/>
          </p:nvSpPr>
          <p:spPr>
            <a:xfrm>
              <a:off x="1124755" y="1889509"/>
              <a:ext cx="1574252" cy="392113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Options Four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1E59DA14-6FF1-4E75-8CD8-58AB7821FCBC}"/>
              </a:ext>
            </a:extLst>
          </p:cNvPr>
          <p:cNvSpPr txBox="1"/>
          <p:nvPr/>
        </p:nvSpPr>
        <p:spPr>
          <a:xfrm>
            <a:off x="780107" y="716590"/>
            <a:ext cx="649819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 Options 3D Pyramid Diagram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A7BFD02-E0D6-4193-B4B1-56D1F884FDB9}"/>
              </a:ext>
            </a:extLst>
          </p:cNvPr>
          <p:cNvGrpSpPr/>
          <p:nvPr/>
        </p:nvGrpSpPr>
        <p:grpSpPr>
          <a:xfrm>
            <a:off x="4237611" y="3469594"/>
            <a:ext cx="3296840" cy="959503"/>
            <a:chOff x="8087536" y="3360879"/>
            <a:chExt cx="3296840" cy="959503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0FBC239-24A8-4BE4-AC8E-586BF87335DE}"/>
                </a:ext>
              </a:extLst>
            </p:cNvPr>
            <p:cNvGrpSpPr/>
            <p:nvPr/>
          </p:nvGrpSpPr>
          <p:grpSpPr>
            <a:xfrm>
              <a:off x="8087536" y="3583499"/>
              <a:ext cx="573224" cy="573224"/>
              <a:chOff x="8303984" y="4003109"/>
              <a:chExt cx="717954" cy="717953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BFAF8B2B-8CA8-4D8F-A529-342869F6A0C7}"/>
                  </a:ext>
                </a:extLst>
              </p:cNvPr>
              <p:cNvSpPr/>
              <p:nvPr/>
            </p:nvSpPr>
            <p:spPr>
              <a:xfrm>
                <a:off x="8303984" y="4003109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5"/>
                  </a:gs>
                  <a:gs pos="99000">
                    <a:schemeClr val="accent5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schemeClr val="bg1"/>
                  </a:solidFill>
                  <a:latin typeface="Calibri"/>
                  <a:ea typeface="宋体"/>
                </a:endParaRPr>
              </a:p>
            </p:txBody>
          </p:sp>
          <p:grpSp>
            <p:nvGrpSpPr>
              <p:cNvPr id="37" name="Graphic 39">
                <a:extLst>
                  <a:ext uri="{FF2B5EF4-FFF2-40B4-BE49-F238E27FC236}">
                    <a16:creationId xmlns:a16="http://schemas.microsoft.com/office/drawing/2014/main" id="{E9B4BFB1-AB55-4A67-8B69-4EEDA3ED0A63}"/>
                  </a:ext>
                </a:extLst>
              </p:cNvPr>
              <p:cNvGrpSpPr/>
              <p:nvPr/>
            </p:nvGrpSpPr>
            <p:grpSpPr>
              <a:xfrm>
                <a:off x="8527013" y="4226404"/>
                <a:ext cx="271896" cy="271362"/>
                <a:chOff x="5306516" y="1725739"/>
                <a:chExt cx="419725" cy="418905"/>
              </a:xfrm>
              <a:solidFill>
                <a:schemeClr val="bg1"/>
              </a:solidFill>
            </p:grpSpPr>
            <p:sp>
              <p:nvSpPr>
                <p:cNvPr id="38" name="Freeform: Shape 37">
                  <a:extLst>
                    <a:ext uri="{FF2B5EF4-FFF2-40B4-BE49-F238E27FC236}">
                      <a16:creationId xmlns:a16="http://schemas.microsoft.com/office/drawing/2014/main" id="{A3FEB906-4F60-44D7-92A5-6E725DF72F12}"/>
                    </a:ext>
                  </a:extLst>
                </p:cNvPr>
                <p:cNvSpPr/>
                <p:nvPr/>
              </p:nvSpPr>
              <p:spPr>
                <a:xfrm>
                  <a:off x="5371373" y="1878194"/>
                  <a:ext cx="201665" cy="201665"/>
                </a:xfrm>
                <a:custGeom>
                  <a:avLst/>
                  <a:gdLst>
                    <a:gd name="connsiteX0" fmla="*/ 64620 w 201664"/>
                    <a:gd name="connsiteY0" fmla="*/ 193721 h 201664"/>
                    <a:gd name="connsiteX1" fmla="*/ 12928 w 201664"/>
                    <a:gd name="connsiteY1" fmla="*/ 202259 h 201664"/>
                    <a:gd name="connsiteX2" fmla="*/ 153 w 201664"/>
                    <a:gd name="connsiteY2" fmla="*/ 189484 h 201664"/>
                    <a:gd name="connsiteX3" fmla="*/ 8691 w 201664"/>
                    <a:gd name="connsiteY3" fmla="*/ 137793 h 201664"/>
                    <a:gd name="connsiteX4" fmla="*/ 17778 w 201664"/>
                    <a:gd name="connsiteY4" fmla="*/ 133340 h 201664"/>
                    <a:gd name="connsiteX5" fmla="*/ 28610 w 201664"/>
                    <a:gd name="connsiteY5" fmla="*/ 133738 h 201664"/>
                    <a:gd name="connsiteX6" fmla="*/ 28679 w 201664"/>
                    <a:gd name="connsiteY6" fmla="*/ 133704 h 201664"/>
                    <a:gd name="connsiteX7" fmla="*/ 197428 w 201664"/>
                    <a:gd name="connsiteY7" fmla="*/ 658 h 201664"/>
                    <a:gd name="connsiteX8" fmla="*/ 201753 w 201664"/>
                    <a:gd name="connsiteY8" fmla="*/ 4983 h 201664"/>
                    <a:gd name="connsiteX9" fmla="*/ 68270 w 201664"/>
                    <a:gd name="connsiteY9" fmla="*/ 174944 h 201664"/>
                    <a:gd name="connsiteX10" fmla="*/ 69074 w 201664"/>
                    <a:gd name="connsiteY10" fmla="*/ 184638 h 201664"/>
                    <a:gd name="connsiteX11" fmla="*/ 64620 w 201664"/>
                    <a:gd name="connsiteY11" fmla="*/ 193721 h 201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664" h="201664">
                      <a:moveTo>
                        <a:pt x="64620" y="193721"/>
                      </a:moveTo>
                      <a:lnTo>
                        <a:pt x="12928" y="202259"/>
                      </a:lnTo>
                      <a:cubicBezTo>
                        <a:pt x="5418" y="203500"/>
                        <a:pt x="-1088" y="196994"/>
                        <a:pt x="153" y="189484"/>
                      </a:cubicBezTo>
                      <a:lnTo>
                        <a:pt x="8691" y="137793"/>
                      </a:lnTo>
                      <a:cubicBezTo>
                        <a:pt x="9387" y="133581"/>
                        <a:pt x="14071" y="131223"/>
                        <a:pt x="17778" y="133340"/>
                      </a:cubicBezTo>
                      <a:cubicBezTo>
                        <a:pt x="20694" y="135004"/>
                        <a:pt x="24205" y="135677"/>
                        <a:pt x="28610" y="133738"/>
                      </a:cubicBezTo>
                      <a:cubicBezTo>
                        <a:pt x="28636" y="133730"/>
                        <a:pt x="28662" y="133721"/>
                        <a:pt x="28679" y="133704"/>
                      </a:cubicBezTo>
                      <a:cubicBezTo>
                        <a:pt x="30671" y="132878"/>
                        <a:pt x="45184" y="115919"/>
                        <a:pt x="197428" y="658"/>
                      </a:cubicBezTo>
                      <a:cubicBezTo>
                        <a:pt x="200288" y="-1506"/>
                        <a:pt x="203918" y="2124"/>
                        <a:pt x="201753" y="4983"/>
                      </a:cubicBezTo>
                      <a:cubicBezTo>
                        <a:pt x="85709" y="158230"/>
                        <a:pt x="69188" y="171910"/>
                        <a:pt x="68270" y="174944"/>
                      </a:cubicBezTo>
                      <a:cubicBezTo>
                        <a:pt x="67019" y="179006"/>
                        <a:pt x="67593" y="182034"/>
                        <a:pt x="69074" y="184638"/>
                      </a:cubicBezTo>
                      <a:cubicBezTo>
                        <a:pt x="71182" y="188348"/>
                        <a:pt x="68830" y="193026"/>
                        <a:pt x="64620" y="193721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9" name="Freeform: Shape 38">
                  <a:extLst>
                    <a:ext uri="{FF2B5EF4-FFF2-40B4-BE49-F238E27FC236}">
                      <a16:creationId xmlns:a16="http://schemas.microsoft.com/office/drawing/2014/main" id="{95F0A421-982B-45E3-B91B-0B2B73057CAF}"/>
                    </a:ext>
                  </a:extLst>
                </p:cNvPr>
                <p:cNvSpPr/>
                <p:nvPr/>
              </p:nvSpPr>
              <p:spPr>
                <a:xfrm>
                  <a:off x="5306516" y="1725739"/>
                  <a:ext cx="419725" cy="418905"/>
                </a:xfrm>
                <a:custGeom>
                  <a:avLst/>
                  <a:gdLst>
                    <a:gd name="connsiteX0" fmla="*/ 419194 w 419725"/>
                    <a:gd name="connsiteY0" fmla="*/ 11221 h 418905"/>
                    <a:gd name="connsiteX1" fmla="*/ 272302 w 419725"/>
                    <a:gd name="connsiteY1" fmla="*/ 409937 h 418905"/>
                    <a:gd name="connsiteX2" fmla="*/ 247701 w 419725"/>
                    <a:gd name="connsiteY2" fmla="*/ 415340 h 418905"/>
                    <a:gd name="connsiteX3" fmla="*/ 171795 w 419725"/>
                    <a:gd name="connsiteY3" fmla="*/ 339435 h 418905"/>
                    <a:gd name="connsiteX4" fmla="*/ 170427 w 419725"/>
                    <a:gd name="connsiteY4" fmla="*/ 319548 h 418905"/>
                    <a:gd name="connsiteX5" fmla="*/ 333066 w 419725"/>
                    <a:gd name="connsiteY5" fmla="*/ 104712 h 418905"/>
                    <a:gd name="connsiteX6" fmla="*/ 315014 w 419725"/>
                    <a:gd name="connsiteY6" fmla="*/ 86660 h 418905"/>
                    <a:gd name="connsiteX7" fmla="*/ 100178 w 419725"/>
                    <a:gd name="connsiteY7" fmla="*/ 249300 h 418905"/>
                    <a:gd name="connsiteX8" fmla="*/ 80290 w 419725"/>
                    <a:gd name="connsiteY8" fmla="*/ 247931 h 418905"/>
                    <a:gd name="connsiteX9" fmla="*/ 4385 w 419725"/>
                    <a:gd name="connsiteY9" fmla="*/ 172025 h 418905"/>
                    <a:gd name="connsiteX10" fmla="*/ 9788 w 419725"/>
                    <a:gd name="connsiteY10" fmla="*/ 147424 h 418905"/>
                    <a:gd name="connsiteX11" fmla="*/ 408505 w 419725"/>
                    <a:gd name="connsiteY11" fmla="*/ 531 h 418905"/>
                    <a:gd name="connsiteX12" fmla="*/ 419194 w 419725"/>
                    <a:gd name="connsiteY12" fmla="*/ 11221 h 418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9725" h="418905">
                      <a:moveTo>
                        <a:pt x="419194" y="11221"/>
                      </a:moveTo>
                      <a:lnTo>
                        <a:pt x="272302" y="409937"/>
                      </a:lnTo>
                      <a:cubicBezTo>
                        <a:pt x="268530" y="420175"/>
                        <a:pt x="255416" y="423056"/>
                        <a:pt x="247701" y="415340"/>
                      </a:cubicBezTo>
                      <a:lnTo>
                        <a:pt x="171795" y="339435"/>
                      </a:lnTo>
                      <a:cubicBezTo>
                        <a:pt x="166438" y="334077"/>
                        <a:pt x="165853" y="325589"/>
                        <a:pt x="170427" y="319548"/>
                      </a:cubicBezTo>
                      <a:lnTo>
                        <a:pt x="333066" y="104712"/>
                      </a:lnTo>
                      <a:cubicBezTo>
                        <a:pt x="342279" y="92379"/>
                        <a:pt x="326544" y="77987"/>
                        <a:pt x="315014" y="86660"/>
                      </a:cubicBezTo>
                      <a:lnTo>
                        <a:pt x="100178" y="249300"/>
                      </a:lnTo>
                      <a:cubicBezTo>
                        <a:pt x="94137" y="253873"/>
                        <a:pt x="85648" y="253289"/>
                        <a:pt x="80290" y="247931"/>
                      </a:cubicBezTo>
                      <a:lnTo>
                        <a:pt x="4385" y="172025"/>
                      </a:lnTo>
                      <a:cubicBezTo>
                        <a:pt x="-3331" y="164309"/>
                        <a:pt x="-450" y="151195"/>
                        <a:pt x="9788" y="147424"/>
                      </a:cubicBezTo>
                      <a:lnTo>
                        <a:pt x="408505" y="531"/>
                      </a:lnTo>
                      <a:cubicBezTo>
                        <a:pt x="415169" y="-1924"/>
                        <a:pt x="421650" y="4556"/>
                        <a:pt x="419194" y="11221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6F2FB56E-25EB-49DD-A2CA-19A063110A16}"/>
                </a:ext>
              </a:extLst>
            </p:cNvPr>
            <p:cNvGrpSpPr/>
            <p:nvPr/>
          </p:nvGrpSpPr>
          <p:grpSpPr>
            <a:xfrm>
              <a:off x="8863886" y="3360879"/>
              <a:ext cx="2520490" cy="959503"/>
              <a:chOff x="1078913" y="1889509"/>
              <a:chExt cx="2520490" cy="959503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114B116B-F474-48E4-BF15-CC61A65EE184}"/>
                  </a:ext>
                </a:extLst>
              </p:cNvPr>
              <p:cNvSpPr txBox="1"/>
              <p:nvPr/>
            </p:nvSpPr>
            <p:spPr>
              <a:xfrm>
                <a:off x="1203218" y="2176998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99243080-4B7A-4A40-A98B-A36A753583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1772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463E2EA2-10F9-472F-947F-9686BAFE47D6}"/>
                  </a:ext>
                </a:extLst>
              </p:cNvPr>
              <p:cNvSpPr/>
              <p:nvPr/>
            </p:nvSpPr>
            <p:spPr>
              <a:xfrm>
                <a:off x="1078913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Rectangle: Rounded Corners 34">
                <a:extLst>
                  <a:ext uri="{FF2B5EF4-FFF2-40B4-BE49-F238E27FC236}">
                    <a16:creationId xmlns:a16="http://schemas.microsoft.com/office/drawing/2014/main" id="{D93188BD-7040-4295-8522-82A4305E18AB}"/>
                  </a:ext>
                </a:extLst>
              </p:cNvPr>
              <p:cNvSpPr/>
              <p:nvPr/>
            </p:nvSpPr>
            <p:spPr>
              <a:xfrm>
                <a:off x="1150823" y="1889509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/>
                    </a:solidFill>
                  </a:rPr>
                  <a:t>Options Five</a:t>
                </a: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650D072-2DC1-427D-A536-796FFC9F3725}"/>
              </a:ext>
            </a:extLst>
          </p:cNvPr>
          <p:cNvGrpSpPr/>
          <p:nvPr/>
        </p:nvGrpSpPr>
        <p:grpSpPr>
          <a:xfrm>
            <a:off x="4230169" y="4603832"/>
            <a:ext cx="3304282" cy="959503"/>
            <a:chOff x="8681197" y="4861272"/>
            <a:chExt cx="3304282" cy="959503"/>
          </a:xfrm>
        </p:grpSpPr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791D5075-5F3F-4B66-AC2C-90E32E25DB32}"/>
                </a:ext>
              </a:extLst>
            </p:cNvPr>
            <p:cNvGrpSpPr/>
            <p:nvPr/>
          </p:nvGrpSpPr>
          <p:grpSpPr>
            <a:xfrm>
              <a:off x="8681197" y="5090080"/>
              <a:ext cx="567338" cy="567338"/>
              <a:chOff x="5285682" y="5294314"/>
              <a:chExt cx="717954" cy="717953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C2CCD3FC-B234-428D-ABDC-05BF9DFB22BB}"/>
                  </a:ext>
                </a:extLst>
              </p:cNvPr>
              <p:cNvSpPr/>
              <p:nvPr/>
            </p:nvSpPr>
            <p:spPr>
              <a:xfrm>
                <a:off x="5285682" y="5294314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3"/>
                  </a:gs>
                  <a:gs pos="99000">
                    <a:schemeClr val="accent3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schemeClr val="bg1"/>
                  </a:solidFill>
                  <a:latin typeface="Calibri"/>
                  <a:ea typeface="宋体"/>
                </a:endParaRPr>
              </a:p>
            </p:txBody>
          </p:sp>
          <p:grpSp>
            <p:nvGrpSpPr>
              <p:cNvPr id="48" name="Graphic 2">
                <a:extLst>
                  <a:ext uri="{FF2B5EF4-FFF2-40B4-BE49-F238E27FC236}">
                    <a16:creationId xmlns:a16="http://schemas.microsoft.com/office/drawing/2014/main" id="{79F8599A-FD0E-440C-81CB-F6280ECD29A3}"/>
                  </a:ext>
                </a:extLst>
              </p:cNvPr>
              <p:cNvGrpSpPr/>
              <p:nvPr/>
            </p:nvGrpSpPr>
            <p:grpSpPr>
              <a:xfrm>
                <a:off x="5496179" y="5516700"/>
                <a:ext cx="296961" cy="273180"/>
                <a:chOff x="9803562" y="1740892"/>
                <a:chExt cx="419725" cy="386114"/>
              </a:xfrm>
              <a:solidFill>
                <a:schemeClr val="bg1"/>
              </a:solidFill>
            </p:grpSpPr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CC6223C1-71D9-4FC7-B419-B23CF78DFD5E}"/>
                    </a:ext>
                  </a:extLst>
                </p:cNvPr>
                <p:cNvSpPr/>
                <p:nvPr/>
              </p:nvSpPr>
              <p:spPr>
                <a:xfrm>
                  <a:off x="9901181" y="1823910"/>
                  <a:ext cx="26233" cy="26233"/>
                </a:xfrm>
                <a:custGeom>
                  <a:avLst/>
                  <a:gdLst>
                    <a:gd name="connsiteX0" fmla="*/ 13461 w 26232"/>
                    <a:gd name="connsiteY0" fmla="*/ 26913 h 26232"/>
                    <a:gd name="connsiteX1" fmla="*/ 26921 w 26232"/>
                    <a:gd name="connsiteY1" fmla="*/ 13453 h 26232"/>
                    <a:gd name="connsiteX2" fmla="*/ 13461 w 26232"/>
                    <a:gd name="connsiteY2" fmla="*/ 0 h 26232"/>
                    <a:gd name="connsiteX3" fmla="*/ 0 w 26232"/>
                    <a:gd name="connsiteY3" fmla="*/ 13453 h 26232"/>
                    <a:gd name="connsiteX4" fmla="*/ 13461 w 26232"/>
                    <a:gd name="connsiteY4" fmla="*/ 26913 h 2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232" h="26232">
                      <a:moveTo>
                        <a:pt x="13461" y="26913"/>
                      </a:moveTo>
                      <a:cubicBezTo>
                        <a:pt x="20880" y="26913"/>
                        <a:pt x="26921" y="20880"/>
                        <a:pt x="26921" y="13453"/>
                      </a:cubicBezTo>
                      <a:cubicBezTo>
                        <a:pt x="26921" y="6034"/>
                        <a:pt x="20880" y="0"/>
                        <a:pt x="13461" y="0"/>
                      </a:cubicBezTo>
                      <a:cubicBezTo>
                        <a:pt x="6042" y="0"/>
                        <a:pt x="0" y="6034"/>
                        <a:pt x="0" y="13453"/>
                      </a:cubicBezTo>
                      <a:cubicBezTo>
                        <a:pt x="0" y="20880"/>
                        <a:pt x="6042" y="26913"/>
                        <a:pt x="13461" y="26913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A0435F3E-67D9-4EEA-B4C1-8BBA52317366}"/>
                    </a:ext>
                  </a:extLst>
                </p:cNvPr>
                <p:cNvSpPr/>
                <p:nvPr/>
              </p:nvSpPr>
              <p:spPr>
                <a:xfrm>
                  <a:off x="9883252" y="1875417"/>
                  <a:ext cx="62303" cy="28692"/>
                </a:xfrm>
                <a:custGeom>
                  <a:avLst/>
                  <a:gdLst>
                    <a:gd name="connsiteX0" fmla="*/ 31389 w 62302"/>
                    <a:gd name="connsiteY0" fmla="*/ 0 h 28692"/>
                    <a:gd name="connsiteX1" fmla="*/ 0 w 62302"/>
                    <a:gd name="connsiteY1" fmla="*/ 28774 h 28692"/>
                    <a:gd name="connsiteX2" fmla="*/ 62778 w 62302"/>
                    <a:gd name="connsiteY2" fmla="*/ 28774 h 28692"/>
                    <a:gd name="connsiteX3" fmla="*/ 31389 w 62302"/>
                    <a:gd name="connsiteY3" fmla="*/ 0 h 28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302" h="28692">
                      <a:moveTo>
                        <a:pt x="31389" y="0"/>
                      </a:moveTo>
                      <a:cubicBezTo>
                        <a:pt x="14936" y="0"/>
                        <a:pt x="1394" y="12674"/>
                        <a:pt x="0" y="28774"/>
                      </a:cubicBezTo>
                      <a:lnTo>
                        <a:pt x="62778" y="28774"/>
                      </a:lnTo>
                      <a:cubicBezTo>
                        <a:pt x="61385" y="12674"/>
                        <a:pt x="47842" y="0"/>
                        <a:pt x="31389" y="0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1" name="Freeform: Shape 50">
                  <a:extLst>
                    <a:ext uri="{FF2B5EF4-FFF2-40B4-BE49-F238E27FC236}">
                      <a16:creationId xmlns:a16="http://schemas.microsoft.com/office/drawing/2014/main" id="{3C77798A-7D52-45C4-B239-6052B34A29A6}"/>
                    </a:ext>
                  </a:extLst>
                </p:cNvPr>
                <p:cNvSpPr/>
                <p:nvPr/>
              </p:nvSpPr>
              <p:spPr>
                <a:xfrm>
                  <a:off x="9803562" y="1740892"/>
                  <a:ext cx="419725" cy="220520"/>
                </a:xfrm>
                <a:custGeom>
                  <a:avLst/>
                  <a:gdLst>
                    <a:gd name="connsiteX0" fmla="*/ 407428 w 419725"/>
                    <a:gd name="connsiteY0" fmla="*/ 0 h 220519"/>
                    <a:gd name="connsiteX1" fmla="*/ 12297 w 419725"/>
                    <a:gd name="connsiteY1" fmla="*/ 0 h 220519"/>
                    <a:gd name="connsiteX2" fmla="*/ 0 w 419725"/>
                    <a:gd name="connsiteY2" fmla="*/ 12297 h 220519"/>
                    <a:gd name="connsiteX3" fmla="*/ 0 w 419725"/>
                    <a:gd name="connsiteY3" fmla="*/ 220938 h 220519"/>
                    <a:gd name="connsiteX4" fmla="*/ 419725 w 419725"/>
                    <a:gd name="connsiteY4" fmla="*/ 220938 h 220519"/>
                    <a:gd name="connsiteX5" fmla="*/ 419725 w 419725"/>
                    <a:gd name="connsiteY5" fmla="*/ 12297 h 220519"/>
                    <a:gd name="connsiteX6" fmla="*/ 407428 w 419725"/>
                    <a:gd name="connsiteY6" fmla="*/ 0 h 220519"/>
                    <a:gd name="connsiteX7" fmla="*/ 167177 w 419725"/>
                    <a:gd name="connsiteY7" fmla="*/ 175596 h 220519"/>
                    <a:gd name="connsiteX8" fmla="*/ 154880 w 419725"/>
                    <a:gd name="connsiteY8" fmla="*/ 187893 h 220519"/>
                    <a:gd name="connsiteX9" fmla="*/ 67279 w 419725"/>
                    <a:gd name="connsiteY9" fmla="*/ 187893 h 220519"/>
                    <a:gd name="connsiteX10" fmla="*/ 54982 w 419725"/>
                    <a:gd name="connsiteY10" fmla="*/ 175596 h 220519"/>
                    <a:gd name="connsiteX11" fmla="*/ 54982 w 419725"/>
                    <a:gd name="connsiteY11" fmla="*/ 166029 h 220519"/>
                    <a:gd name="connsiteX12" fmla="*/ 80469 w 419725"/>
                    <a:gd name="connsiteY12" fmla="*/ 119056 h 220519"/>
                    <a:gd name="connsiteX13" fmla="*/ 73026 w 419725"/>
                    <a:gd name="connsiteY13" fmla="*/ 96471 h 220519"/>
                    <a:gd name="connsiteX14" fmla="*/ 111080 w 419725"/>
                    <a:gd name="connsiteY14" fmla="*/ 58425 h 220519"/>
                    <a:gd name="connsiteX15" fmla="*/ 149134 w 419725"/>
                    <a:gd name="connsiteY15" fmla="*/ 96471 h 220519"/>
                    <a:gd name="connsiteX16" fmla="*/ 141690 w 419725"/>
                    <a:gd name="connsiteY16" fmla="*/ 119056 h 220519"/>
                    <a:gd name="connsiteX17" fmla="*/ 167177 w 419725"/>
                    <a:gd name="connsiteY17" fmla="*/ 166029 h 220519"/>
                    <a:gd name="connsiteX18" fmla="*/ 358242 w 419725"/>
                    <a:gd name="connsiteY18" fmla="*/ 183302 h 220519"/>
                    <a:gd name="connsiteX19" fmla="*/ 247474 w 419725"/>
                    <a:gd name="connsiteY19" fmla="*/ 183302 h 220519"/>
                    <a:gd name="connsiteX20" fmla="*/ 235177 w 419725"/>
                    <a:gd name="connsiteY20" fmla="*/ 171005 h 220519"/>
                    <a:gd name="connsiteX21" fmla="*/ 247474 w 419725"/>
                    <a:gd name="connsiteY21" fmla="*/ 158709 h 220519"/>
                    <a:gd name="connsiteX22" fmla="*/ 358242 w 419725"/>
                    <a:gd name="connsiteY22" fmla="*/ 158709 h 220519"/>
                    <a:gd name="connsiteX23" fmla="*/ 370538 w 419725"/>
                    <a:gd name="connsiteY23" fmla="*/ 171005 h 220519"/>
                    <a:gd name="connsiteX24" fmla="*/ 358242 w 419725"/>
                    <a:gd name="connsiteY24" fmla="*/ 183302 h 220519"/>
                    <a:gd name="connsiteX25" fmla="*/ 358242 w 419725"/>
                    <a:gd name="connsiteY25" fmla="*/ 134115 h 220519"/>
                    <a:gd name="connsiteX26" fmla="*/ 247474 w 419725"/>
                    <a:gd name="connsiteY26" fmla="*/ 134115 h 220519"/>
                    <a:gd name="connsiteX27" fmla="*/ 235177 w 419725"/>
                    <a:gd name="connsiteY27" fmla="*/ 121819 h 220519"/>
                    <a:gd name="connsiteX28" fmla="*/ 247474 w 419725"/>
                    <a:gd name="connsiteY28" fmla="*/ 109522 h 220519"/>
                    <a:gd name="connsiteX29" fmla="*/ 358242 w 419725"/>
                    <a:gd name="connsiteY29" fmla="*/ 109522 h 220519"/>
                    <a:gd name="connsiteX30" fmla="*/ 370538 w 419725"/>
                    <a:gd name="connsiteY30" fmla="*/ 121819 h 220519"/>
                    <a:gd name="connsiteX31" fmla="*/ 358242 w 419725"/>
                    <a:gd name="connsiteY31" fmla="*/ 134115 h 220519"/>
                    <a:gd name="connsiteX32" fmla="*/ 358242 w 419725"/>
                    <a:gd name="connsiteY32" fmla="*/ 84929 h 220519"/>
                    <a:gd name="connsiteX33" fmla="*/ 247474 w 419725"/>
                    <a:gd name="connsiteY33" fmla="*/ 84929 h 220519"/>
                    <a:gd name="connsiteX34" fmla="*/ 235177 w 419725"/>
                    <a:gd name="connsiteY34" fmla="*/ 72632 h 220519"/>
                    <a:gd name="connsiteX35" fmla="*/ 247474 w 419725"/>
                    <a:gd name="connsiteY35" fmla="*/ 60335 h 220519"/>
                    <a:gd name="connsiteX36" fmla="*/ 358242 w 419725"/>
                    <a:gd name="connsiteY36" fmla="*/ 60335 h 220519"/>
                    <a:gd name="connsiteX37" fmla="*/ 370538 w 419725"/>
                    <a:gd name="connsiteY37" fmla="*/ 72632 h 220519"/>
                    <a:gd name="connsiteX38" fmla="*/ 358242 w 419725"/>
                    <a:gd name="connsiteY38" fmla="*/ 84929 h 220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419725" h="220519">
                      <a:moveTo>
                        <a:pt x="407428" y="0"/>
                      </a:moveTo>
                      <a:lnTo>
                        <a:pt x="12297" y="0"/>
                      </a:lnTo>
                      <a:cubicBezTo>
                        <a:pt x="5509" y="0"/>
                        <a:pt x="0" y="5509"/>
                        <a:pt x="0" y="12297"/>
                      </a:cubicBezTo>
                      <a:lnTo>
                        <a:pt x="0" y="220938"/>
                      </a:lnTo>
                      <a:lnTo>
                        <a:pt x="419725" y="220938"/>
                      </a:lnTo>
                      <a:lnTo>
                        <a:pt x="419725" y="12297"/>
                      </a:lnTo>
                      <a:cubicBezTo>
                        <a:pt x="419725" y="5509"/>
                        <a:pt x="414216" y="0"/>
                        <a:pt x="407428" y="0"/>
                      </a:cubicBezTo>
                      <a:close/>
                      <a:moveTo>
                        <a:pt x="167177" y="175596"/>
                      </a:moveTo>
                      <a:cubicBezTo>
                        <a:pt x="167177" y="182384"/>
                        <a:pt x="161676" y="187893"/>
                        <a:pt x="154880" y="187893"/>
                      </a:cubicBezTo>
                      <a:lnTo>
                        <a:pt x="67279" y="187893"/>
                      </a:lnTo>
                      <a:cubicBezTo>
                        <a:pt x="60483" y="187893"/>
                        <a:pt x="54982" y="182384"/>
                        <a:pt x="54982" y="175596"/>
                      </a:cubicBezTo>
                      <a:lnTo>
                        <a:pt x="54982" y="166029"/>
                      </a:lnTo>
                      <a:cubicBezTo>
                        <a:pt x="54982" y="146387"/>
                        <a:pt x="65131" y="129065"/>
                        <a:pt x="80469" y="119056"/>
                      </a:cubicBezTo>
                      <a:cubicBezTo>
                        <a:pt x="75796" y="112736"/>
                        <a:pt x="73026" y="104923"/>
                        <a:pt x="73026" y="96471"/>
                      </a:cubicBezTo>
                      <a:cubicBezTo>
                        <a:pt x="73026" y="75493"/>
                        <a:pt x="90102" y="58425"/>
                        <a:pt x="111080" y="58425"/>
                      </a:cubicBezTo>
                      <a:cubicBezTo>
                        <a:pt x="132058" y="58425"/>
                        <a:pt x="149134" y="75493"/>
                        <a:pt x="149134" y="96471"/>
                      </a:cubicBezTo>
                      <a:cubicBezTo>
                        <a:pt x="149134" y="104923"/>
                        <a:pt x="146363" y="112736"/>
                        <a:pt x="141690" y="119056"/>
                      </a:cubicBezTo>
                      <a:cubicBezTo>
                        <a:pt x="157028" y="129065"/>
                        <a:pt x="167177" y="146387"/>
                        <a:pt x="167177" y="166029"/>
                      </a:cubicBezTo>
                      <a:close/>
                      <a:moveTo>
                        <a:pt x="358242" y="183302"/>
                      </a:moveTo>
                      <a:lnTo>
                        <a:pt x="247474" y="183302"/>
                      </a:lnTo>
                      <a:cubicBezTo>
                        <a:pt x="240678" y="183302"/>
                        <a:pt x="235177" y="177793"/>
                        <a:pt x="235177" y="171005"/>
                      </a:cubicBezTo>
                      <a:cubicBezTo>
                        <a:pt x="235177" y="164209"/>
                        <a:pt x="240678" y="158709"/>
                        <a:pt x="247474" y="158709"/>
                      </a:cubicBezTo>
                      <a:lnTo>
                        <a:pt x="358242" y="158709"/>
                      </a:lnTo>
                      <a:cubicBezTo>
                        <a:pt x="365030" y="158709"/>
                        <a:pt x="370538" y="164209"/>
                        <a:pt x="370538" y="171005"/>
                      </a:cubicBezTo>
                      <a:cubicBezTo>
                        <a:pt x="370538" y="177793"/>
                        <a:pt x="365030" y="183302"/>
                        <a:pt x="358242" y="183302"/>
                      </a:cubicBezTo>
                      <a:close/>
                      <a:moveTo>
                        <a:pt x="358242" y="134115"/>
                      </a:moveTo>
                      <a:lnTo>
                        <a:pt x="247474" y="134115"/>
                      </a:lnTo>
                      <a:cubicBezTo>
                        <a:pt x="240678" y="134115"/>
                        <a:pt x="235177" y="128606"/>
                        <a:pt x="235177" y="121819"/>
                      </a:cubicBezTo>
                      <a:cubicBezTo>
                        <a:pt x="235177" y="115023"/>
                        <a:pt x="240678" y="109522"/>
                        <a:pt x="247474" y="109522"/>
                      </a:cubicBezTo>
                      <a:lnTo>
                        <a:pt x="358242" y="109522"/>
                      </a:lnTo>
                      <a:cubicBezTo>
                        <a:pt x="365030" y="109522"/>
                        <a:pt x="370538" y="115023"/>
                        <a:pt x="370538" y="121819"/>
                      </a:cubicBezTo>
                      <a:cubicBezTo>
                        <a:pt x="370538" y="128606"/>
                        <a:pt x="365030" y="134115"/>
                        <a:pt x="358242" y="134115"/>
                      </a:cubicBezTo>
                      <a:close/>
                      <a:moveTo>
                        <a:pt x="358242" y="84929"/>
                      </a:moveTo>
                      <a:lnTo>
                        <a:pt x="247474" y="84929"/>
                      </a:lnTo>
                      <a:cubicBezTo>
                        <a:pt x="240678" y="84929"/>
                        <a:pt x="235177" y="79420"/>
                        <a:pt x="235177" y="72632"/>
                      </a:cubicBezTo>
                      <a:cubicBezTo>
                        <a:pt x="235177" y="65836"/>
                        <a:pt x="240678" y="60335"/>
                        <a:pt x="247474" y="60335"/>
                      </a:cubicBezTo>
                      <a:lnTo>
                        <a:pt x="358242" y="60335"/>
                      </a:lnTo>
                      <a:cubicBezTo>
                        <a:pt x="365030" y="60335"/>
                        <a:pt x="370538" y="65836"/>
                        <a:pt x="370538" y="72632"/>
                      </a:cubicBezTo>
                      <a:cubicBezTo>
                        <a:pt x="370538" y="79420"/>
                        <a:pt x="365030" y="84929"/>
                        <a:pt x="358242" y="84929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2" name="Freeform: Shape 51">
                  <a:extLst>
                    <a:ext uri="{FF2B5EF4-FFF2-40B4-BE49-F238E27FC236}">
                      <a16:creationId xmlns:a16="http://schemas.microsoft.com/office/drawing/2014/main" id="{F94A9A94-5376-44F9-AE53-BF0AD99F9668}"/>
                    </a:ext>
                  </a:extLst>
                </p:cNvPr>
                <p:cNvSpPr/>
                <p:nvPr/>
              </p:nvSpPr>
              <p:spPr>
                <a:xfrm>
                  <a:off x="9803562" y="1986423"/>
                  <a:ext cx="419725" cy="141001"/>
                </a:xfrm>
                <a:custGeom>
                  <a:avLst/>
                  <a:gdLst>
                    <a:gd name="connsiteX0" fmla="*/ 0 w 419725"/>
                    <a:gd name="connsiteY0" fmla="*/ 30717 h 141001"/>
                    <a:gd name="connsiteX1" fmla="*/ 12297 w 419725"/>
                    <a:gd name="connsiteY1" fmla="*/ 43014 h 141001"/>
                    <a:gd name="connsiteX2" fmla="*/ 180019 w 419725"/>
                    <a:gd name="connsiteY2" fmla="*/ 43014 h 141001"/>
                    <a:gd name="connsiteX3" fmla="*/ 180019 w 419725"/>
                    <a:gd name="connsiteY3" fmla="*/ 92200 h 141001"/>
                    <a:gd name="connsiteX4" fmla="*/ 156331 w 419725"/>
                    <a:gd name="connsiteY4" fmla="*/ 92200 h 141001"/>
                    <a:gd name="connsiteX5" fmla="*/ 115039 w 419725"/>
                    <a:gd name="connsiteY5" fmla="*/ 133500 h 141001"/>
                    <a:gd name="connsiteX6" fmla="*/ 117351 w 419725"/>
                    <a:gd name="connsiteY6" fmla="*/ 139075 h 141001"/>
                    <a:gd name="connsiteX7" fmla="*/ 122925 w 419725"/>
                    <a:gd name="connsiteY7" fmla="*/ 141387 h 141001"/>
                    <a:gd name="connsiteX8" fmla="*/ 296800 w 419725"/>
                    <a:gd name="connsiteY8" fmla="*/ 141387 h 141001"/>
                    <a:gd name="connsiteX9" fmla="*/ 304686 w 419725"/>
                    <a:gd name="connsiteY9" fmla="*/ 133500 h 141001"/>
                    <a:gd name="connsiteX10" fmla="*/ 292594 w 419725"/>
                    <a:gd name="connsiteY10" fmla="*/ 104292 h 141001"/>
                    <a:gd name="connsiteX11" fmla="*/ 263394 w 419725"/>
                    <a:gd name="connsiteY11" fmla="*/ 92200 h 141001"/>
                    <a:gd name="connsiteX12" fmla="*/ 239706 w 419725"/>
                    <a:gd name="connsiteY12" fmla="*/ 92200 h 141001"/>
                    <a:gd name="connsiteX13" fmla="*/ 239706 w 419725"/>
                    <a:gd name="connsiteY13" fmla="*/ 43014 h 141001"/>
                    <a:gd name="connsiteX14" fmla="*/ 407428 w 419725"/>
                    <a:gd name="connsiteY14" fmla="*/ 43014 h 141001"/>
                    <a:gd name="connsiteX15" fmla="*/ 419725 w 419725"/>
                    <a:gd name="connsiteY15" fmla="*/ 30717 h 141001"/>
                    <a:gd name="connsiteX16" fmla="*/ 419725 w 419725"/>
                    <a:gd name="connsiteY16" fmla="*/ 0 h 141001"/>
                    <a:gd name="connsiteX17" fmla="*/ 0 w 419725"/>
                    <a:gd name="connsiteY17" fmla="*/ 0 h 141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19725" h="141001">
                      <a:moveTo>
                        <a:pt x="0" y="30717"/>
                      </a:moveTo>
                      <a:cubicBezTo>
                        <a:pt x="0" y="37505"/>
                        <a:pt x="5509" y="43014"/>
                        <a:pt x="12297" y="43014"/>
                      </a:cubicBezTo>
                      <a:lnTo>
                        <a:pt x="180019" y="43014"/>
                      </a:lnTo>
                      <a:lnTo>
                        <a:pt x="180019" y="92200"/>
                      </a:lnTo>
                      <a:lnTo>
                        <a:pt x="156331" y="92200"/>
                      </a:lnTo>
                      <a:cubicBezTo>
                        <a:pt x="133525" y="92200"/>
                        <a:pt x="115039" y="110686"/>
                        <a:pt x="115039" y="133500"/>
                      </a:cubicBezTo>
                      <a:cubicBezTo>
                        <a:pt x="115039" y="135681"/>
                        <a:pt x="115924" y="137648"/>
                        <a:pt x="117351" y="139075"/>
                      </a:cubicBezTo>
                      <a:cubicBezTo>
                        <a:pt x="118777" y="140501"/>
                        <a:pt x="120753" y="141387"/>
                        <a:pt x="122925" y="141387"/>
                      </a:cubicBezTo>
                      <a:lnTo>
                        <a:pt x="296800" y="141387"/>
                      </a:lnTo>
                      <a:cubicBezTo>
                        <a:pt x="301153" y="141387"/>
                        <a:pt x="304686" y="137853"/>
                        <a:pt x="304686" y="133500"/>
                      </a:cubicBezTo>
                      <a:cubicBezTo>
                        <a:pt x="304686" y="122089"/>
                        <a:pt x="300062" y="111768"/>
                        <a:pt x="292594" y="104292"/>
                      </a:cubicBezTo>
                      <a:cubicBezTo>
                        <a:pt x="285118" y="96824"/>
                        <a:pt x="274797" y="92200"/>
                        <a:pt x="263394" y="92200"/>
                      </a:cubicBezTo>
                      <a:lnTo>
                        <a:pt x="239706" y="92200"/>
                      </a:lnTo>
                      <a:lnTo>
                        <a:pt x="239706" y="43014"/>
                      </a:lnTo>
                      <a:lnTo>
                        <a:pt x="407428" y="43014"/>
                      </a:lnTo>
                      <a:cubicBezTo>
                        <a:pt x="414216" y="43014"/>
                        <a:pt x="419725" y="37505"/>
                        <a:pt x="419725" y="30717"/>
                      </a:cubicBezTo>
                      <a:lnTo>
                        <a:pt x="41972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210731B-DE2A-4D8A-A1D1-C7C615A27B9D}"/>
                </a:ext>
              </a:extLst>
            </p:cNvPr>
            <p:cNvGrpSpPr/>
            <p:nvPr/>
          </p:nvGrpSpPr>
          <p:grpSpPr>
            <a:xfrm>
              <a:off x="9464989" y="4861272"/>
              <a:ext cx="2520490" cy="959503"/>
              <a:chOff x="1052845" y="1889509"/>
              <a:chExt cx="2520490" cy="959503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86AD771-EDE1-4F8A-9212-227B6C7BC029}"/>
                  </a:ext>
                </a:extLst>
              </p:cNvPr>
              <p:cNvSpPr txBox="1"/>
              <p:nvPr/>
            </p:nvSpPr>
            <p:spPr>
              <a:xfrm>
                <a:off x="1177150" y="2176998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00EC4BD1-E8ED-4764-9ABF-D84616504D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D20A1071-224D-489B-980B-832611B0589C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BD379D05-6E17-4098-99E7-3049CD7E9647}"/>
                  </a:ext>
                </a:extLst>
              </p:cNvPr>
              <p:cNvSpPr/>
              <p:nvPr/>
            </p:nvSpPr>
            <p:spPr>
              <a:xfrm>
                <a:off x="1124755" y="1889509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/>
                    </a:solidFill>
                  </a:rPr>
                  <a:t>Options Six</a:t>
                </a: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76DA46C-33C3-4CD3-822E-7277A23108F4}"/>
              </a:ext>
            </a:extLst>
          </p:cNvPr>
          <p:cNvGrpSpPr/>
          <p:nvPr/>
        </p:nvGrpSpPr>
        <p:grpSpPr>
          <a:xfrm>
            <a:off x="758177" y="2269254"/>
            <a:ext cx="3296227" cy="972996"/>
            <a:chOff x="758177" y="2269254"/>
            <a:chExt cx="3296227" cy="97299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EF9502D-6F91-4068-9E0B-76B3D1F51D1E}"/>
                </a:ext>
              </a:extLst>
            </p:cNvPr>
            <p:cNvGrpSpPr/>
            <p:nvPr/>
          </p:nvGrpSpPr>
          <p:grpSpPr>
            <a:xfrm>
              <a:off x="1533914" y="2269254"/>
              <a:ext cx="2520490" cy="972996"/>
              <a:chOff x="1052845" y="1876016"/>
              <a:chExt cx="2520490" cy="972996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8E5AD632-0239-48A5-9DD6-68FE0D6A96B5}"/>
                  </a:ext>
                </a:extLst>
              </p:cNvPr>
              <p:cNvSpPr txBox="1"/>
              <p:nvPr/>
            </p:nvSpPr>
            <p:spPr>
              <a:xfrm>
                <a:off x="1177150" y="2163505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4824CFA8-F980-4158-B5F2-E1AD79D6DE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Rectangle: Rounded Corners 62">
                <a:extLst>
                  <a:ext uri="{FF2B5EF4-FFF2-40B4-BE49-F238E27FC236}">
                    <a16:creationId xmlns:a16="http://schemas.microsoft.com/office/drawing/2014/main" id="{C0E814C0-5262-46E7-8422-8EE9C8468554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323E719C-72C4-4E1F-B592-9AC410B1B0F9}"/>
                  </a:ext>
                </a:extLst>
              </p:cNvPr>
              <p:cNvSpPr/>
              <p:nvPr/>
            </p:nvSpPr>
            <p:spPr>
              <a:xfrm>
                <a:off x="1124755" y="1876016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/>
                    </a:solidFill>
                  </a:rPr>
                  <a:t>Options One</a:t>
                </a:r>
              </a:p>
            </p:txBody>
          </p:sp>
        </p:grp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3FFF4E0-7562-432F-94C6-C0810F1E60A8}"/>
                </a:ext>
              </a:extLst>
            </p:cNvPr>
            <p:cNvSpPr/>
            <p:nvPr/>
          </p:nvSpPr>
          <p:spPr>
            <a:xfrm>
              <a:off x="758177" y="2506324"/>
              <a:ext cx="594740" cy="594740"/>
            </a:xfrm>
            <a:prstGeom prst="ellipse">
              <a:avLst/>
            </a:prstGeom>
            <a:gradFill>
              <a:gsLst>
                <a:gs pos="0">
                  <a:schemeClr val="accent1"/>
                </a:gs>
                <a:gs pos="99000">
                  <a:schemeClr val="accent1">
                    <a:lumMod val="75000"/>
                  </a:schemeClr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>
              <a:outerShdw blurRad="228600" dist="38100" dir="2700000" algn="tl" rotWithShape="0">
                <a:prstClr val="black">
                  <a:alpha val="10000"/>
                </a:prstClr>
              </a:outerShdw>
            </a:effectLst>
          </p:spPr>
          <p:txBody>
            <a:bodyPr rtlCol="0" anchor="ctr"/>
            <a:lstStyle/>
            <a:p>
              <a:pPr algn="ctr"/>
              <a:endParaRPr lang="en-US" kern="0" dirty="0">
                <a:solidFill>
                  <a:schemeClr val="bg1"/>
                </a:solidFill>
                <a:latin typeface="Calibri"/>
                <a:ea typeface="宋体"/>
              </a:endParaRPr>
            </a:p>
          </p:txBody>
        </p:sp>
        <p:grpSp>
          <p:nvGrpSpPr>
            <p:cNvPr id="57" name="Graphic 12">
              <a:extLst>
                <a:ext uri="{FF2B5EF4-FFF2-40B4-BE49-F238E27FC236}">
                  <a16:creationId xmlns:a16="http://schemas.microsoft.com/office/drawing/2014/main" id="{00E79C0A-990A-4D89-AF34-68A0DBAFC340}"/>
                </a:ext>
              </a:extLst>
            </p:cNvPr>
            <p:cNvGrpSpPr/>
            <p:nvPr/>
          </p:nvGrpSpPr>
          <p:grpSpPr>
            <a:xfrm>
              <a:off x="954021" y="2702158"/>
              <a:ext cx="203446" cy="203240"/>
              <a:chOff x="6754960" y="1724489"/>
              <a:chExt cx="419669" cy="419246"/>
            </a:xfrm>
            <a:solidFill>
              <a:schemeClr val="bg1"/>
            </a:solidFill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832F071-C230-4D66-A2CB-01452CD64428}"/>
                  </a:ext>
                </a:extLst>
              </p:cNvPr>
              <p:cNvSpPr/>
              <p:nvPr/>
            </p:nvSpPr>
            <p:spPr>
              <a:xfrm>
                <a:off x="6925417" y="1724489"/>
                <a:ext cx="249212" cy="249212"/>
              </a:xfrm>
              <a:custGeom>
                <a:avLst/>
                <a:gdLst>
                  <a:gd name="connsiteX0" fmla="*/ 245654 w 249211"/>
                  <a:gd name="connsiteY0" fmla="*/ 176761 h 249211"/>
                  <a:gd name="connsiteX1" fmla="*/ 223446 w 249211"/>
                  <a:gd name="connsiteY1" fmla="*/ 198985 h 249211"/>
                  <a:gd name="connsiteX2" fmla="*/ 133779 w 249211"/>
                  <a:gd name="connsiteY2" fmla="*/ 211716 h 249211"/>
                  <a:gd name="connsiteX3" fmla="*/ 96250 w 249211"/>
                  <a:gd name="connsiteY3" fmla="*/ 249246 h 249211"/>
                  <a:gd name="connsiteX4" fmla="*/ 95963 w 249211"/>
                  <a:gd name="connsiteY4" fmla="*/ 248672 h 249211"/>
                  <a:gd name="connsiteX5" fmla="*/ 42358 w 249211"/>
                  <a:gd name="connsiteY5" fmla="*/ 183418 h 249211"/>
                  <a:gd name="connsiteX6" fmla="*/ 0 w 249211"/>
                  <a:gd name="connsiteY6" fmla="*/ 153020 h 249211"/>
                  <a:gd name="connsiteX7" fmla="*/ 37546 w 249211"/>
                  <a:gd name="connsiteY7" fmla="*/ 115475 h 249211"/>
                  <a:gd name="connsiteX8" fmla="*/ 50269 w 249211"/>
                  <a:gd name="connsiteY8" fmla="*/ 25816 h 249211"/>
                  <a:gd name="connsiteX9" fmla="*/ 72493 w 249211"/>
                  <a:gd name="connsiteY9" fmla="*/ 3600 h 249211"/>
                  <a:gd name="connsiteX10" fmla="*/ 89880 w 249211"/>
                  <a:gd name="connsiteY10" fmla="*/ 3600 h 249211"/>
                  <a:gd name="connsiteX11" fmla="*/ 245654 w 249211"/>
                  <a:gd name="connsiteY11" fmla="*/ 159374 h 249211"/>
                  <a:gd name="connsiteX12" fmla="*/ 245654 w 249211"/>
                  <a:gd name="connsiteY12" fmla="*/ 176761 h 249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9211" h="249211">
                    <a:moveTo>
                      <a:pt x="245654" y="176761"/>
                    </a:moveTo>
                    <a:lnTo>
                      <a:pt x="223446" y="198985"/>
                    </a:lnTo>
                    <a:cubicBezTo>
                      <a:pt x="199779" y="222636"/>
                      <a:pt x="162996" y="227833"/>
                      <a:pt x="133779" y="211716"/>
                    </a:cubicBezTo>
                    <a:lnTo>
                      <a:pt x="96250" y="249246"/>
                    </a:lnTo>
                    <a:cubicBezTo>
                      <a:pt x="96151" y="249057"/>
                      <a:pt x="96061" y="248860"/>
                      <a:pt x="95963" y="248672"/>
                    </a:cubicBezTo>
                    <a:cubicBezTo>
                      <a:pt x="82073" y="220862"/>
                      <a:pt x="66849" y="207909"/>
                      <a:pt x="42358" y="183418"/>
                    </a:cubicBezTo>
                    <a:cubicBezTo>
                      <a:pt x="26907" y="167966"/>
                      <a:pt x="7916" y="156317"/>
                      <a:pt x="0" y="153020"/>
                    </a:cubicBezTo>
                    <a:lnTo>
                      <a:pt x="37546" y="115475"/>
                    </a:lnTo>
                    <a:cubicBezTo>
                      <a:pt x="21421" y="86291"/>
                      <a:pt x="26610" y="49483"/>
                      <a:pt x="50269" y="25816"/>
                    </a:cubicBezTo>
                    <a:lnTo>
                      <a:pt x="72493" y="3600"/>
                    </a:lnTo>
                    <a:cubicBezTo>
                      <a:pt x="77297" y="-1204"/>
                      <a:pt x="85084" y="-1196"/>
                      <a:pt x="89880" y="3600"/>
                    </a:cubicBezTo>
                    <a:lnTo>
                      <a:pt x="245654" y="159374"/>
                    </a:lnTo>
                    <a:cubicBezTo>
                      <a:pt x="250458" y="164177"/>
                      <a:pt x="250458" y="171965"/>
                      <a:pt x="245654" y="176761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BE4AB33-BA0D-44F6-8CCA-E3BBAC89E290}"/>
                  </a:ext>
                </a:extLst>
              </p:cNvPr>
              <p:cNvSpPr/>
              <p:nvPr/>
            </p:nvSpPr>
            <p:spPr>
              <a:xfrm>
                <a:off x="6759159" y="2050351"/>
                <a:ext cx="89357" cy="89357"/>
              </a:xfrm>
              <a:custGeom>
                <a:avLst/>
                <a:gdLst>
                  <a:gd name="connsiteX0" fmla="*/ 89647 w 89355"/>
                  <a:gd name="connsiteY0" fmla="*/ 17387 h 89355"/>
                  <a:gd name="connsiteX1" fmla="*/ 20999 w 89355"/>
                  <a:gd name="connsiteY1" fmla="*/ 86035 h 89355"/>
                  <a:gd name="connsiteX2" fmla="*/ 12301 w 89355"/>
                  <a:gd name="connsiteY2" fmla="*/ 89642 h 89355"/>
                  <a:gd name="connsiteX3" fmla="*/ 3603 w 89355"/>
                  <a:gd name="connsiteY3" fmla="*/ 86035 h 89355"/>
                  <a:gd name="connsiteX4" fmla="*/ 3603 w 89355"/>
                  <a:gd name="connsiteY4" fmla="*/ 68648 h 89355"/>
                  <a:gd name="connsiteX5" fmla="*/ 72259 w 89355"/>
                  <a:gd name="connsiteY5" fmla="*/ 0 h 89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355" h="89355">
                    <a:moveTo>
                      <a:pt x="89647" y="17387"/>
                    </a:moveTo>
                    <a:lnTo>
                      <a:pt x="20999" y="86035"/>
                    </a:lnTo>
                    <a:cubicBezTo>
                      <a:pt x="18597" y="88437"/>
                      <a:pt x="15449" y="89642"/>
                      <a:pt x="12301" y="89642"/>
                    </a:cubicBezTo>
                    <a:cubicBezTo>
                      <a:pt x="9153" y="89642"/>
                      <a:pt x="6005" y="88437"/>
                      <a:pt x="3603" y="86035"/>
                    </a:cubicBezTo>
                    <a:cubicBezTo>
                      <a:pt x="-1201" y="81232"/>
                      <a:pt x="-1201" y="73452"/>
                      <a:pt x="3603" y="68648"/>
                    </a:cubicBezTo>
                    <a:lnTo>
                      <a:pt x="72259" y="0"/>
                    </a:ln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E36894EA-4AEB-40F5-BA30-FBADFAD012A0}"/>
                  </a:ext>
                </a:extLst>
              </p:cNvPr>
              <p:cNvSpPr/>
              <p:nvPr/>
            </p:nvSpPr>
            <p:spPr>
              <a:xfrm>
                <a:off x="6754960" y="1885506"/>
                <a:ext cx="258232" cy="258229"/>
              </a:xfrm>
              <a:custGeom>
                <a:avLst/>
                <a:gdLst>
                  <a:gd name="connsiteX0" fmla="*/ 258646 w 258229"/>
                  <a:gd name="connsiteY0" fmla="*/ 159188 h 258229"/>
                  <a:gd name="connsiteX1" fmla="*/ 218911 w 258229"/>
                  <a:gd name="connsiteY1" fmla="*/ 255110 h 258229"/>
                  <a:gd name="connsiteX2" fmla="*/ 201515 w 258229"/>
                  <a:gd name="connsiteY2" fmla="*/ 255110 h 258229"/>
                  <a:gd name="connsiteX3" fmla="*/ 3597 w 258229"/>
                  <a:gd name="connsiteY3" fmla="*/ 57183 h 258229"/>
                  <a:gd name="connsiteX4" fmla="*/ 3597 w 258229"/>
                  <a:gd name="connsiteY4" fmla="*/ 39796 h 258229"/>
                  <a:gd name="connsiteX5" fmla="*/ 160059 w 258229"/>
                  <a:gd name="connsiteY5" fmla="*/ 14284 h 258229"/>
                  <a:gd name="connsiteX6" fmla="*/ 218911 w 258229"/>
                  <a:gd name="connsiteY6" fmla="*/ 63266 h 258229"/>
                  <a:gd name="connsiteX7" fmla="*/ 258646 w 258229"/>
                  <a:gd name="connsiteY7" fmla="*/ 159188 h 258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229" h="258229">
                    <a:moveTo>
                      <a:pt x="258646" y="159188"/>
                    </a:moveTo>
                    <a:cubicBezTo>
                      <a:pt x="258629" y="194751"/>
                      <a:pt x="245023" y="228980"/>
                      <a:pt x="218911" y="255110"/>
                    </a:cubicBezTo>
                    <a:cubicBezTo>
                      <a:pt x="214137" y="259884"/>
                      <a:pt x="206351" y="259928"/>
                      <a:pt x="201515" y="255110"/>
                    </a:cubicBezTo>
                    <a:lnTo>
                      <a:pt x="3597" y="57183"/>
                    </a:lnTo>
                    <a:cubicBezTo>
                      <a:pt x="-1189" y="52397"/>
                      <a:pt x="-1209" y="44602"/>
                      <a:pt x="3597" y="39796"/>
                    </a:cubicBezTo>
                    <a:cubicBezTo>
                      <a:pt x="44922" y="-1529"/>
                      <a:pt x="107799" y="-11784"/>
                      <a:pt x="160059" y="14284"/>
                    </a:cubicBezTo>
                    <a:cubicBezTo>
                      <a:pt x="183785" y="26133"/>
                      <a:pt x="194326" y="38689"/>
                      <a:pt x="218911" y="63266"/>
                    </a:cubicBezTo>
                    <a:cubicBezTo>
                      <a:pt x="244534" y="88889"/>
                      <a:pt x="258646" y="123226"/>
                      <a:pt x="258646" y="159188"/>
                    </a:cubicBezTo>
                    <a:close/>
                  </a:path>
                </a:pathLst>
              </a:custGeom>
              <a:grpFill/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A71E23A-59C8-4C4E-8CA3-F68CEEBDE21D}"/>
              </a:ext>
            </a:extLst>
          </p:cNvPr>
          <p:cNvGrpSpPr/>
          <p:nvPr/>
        </p:nvGrpSpPr>
        <p:grpSpPr>
          <a:xfrm>
            <a:off x="774920" y="3471824"/>
            <a:ext cx="3279484" cy="955044"/>
            <a:chOff x="774920" y="3471824"/>
            <a:chExt cx="3279484" cy="955044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DBF5E74C-C2B0-4021-A8B5-F0ADD75929EB}"/>
                </a:ext>
              </a:extLst>
            </p:cNvPr>
            <p:cNvGrpSpPr/>
            <p:nvPr/>
          </p:nvGrpSpPr>
          <p:grpSpPr>
            <a:xfrm>
              <a:off x="1533914" y="3471824"/>
              <a:ext cx="2520490" cy="955044"/>
              <a:chOff x="1052845" y="1908561"/>
              <a:chExt cx="2520490" cy="955044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3A8DBF42-E3D5-4A14-AF1B-57F96F02DCF4}"/>
                  </a:ext>
                </a:extLst>
              </p:cNvPr>
              <p:cNvSpPr txBox="1"/>
              <p:nvPr/>
            </p:nvSpPr>
            <p:spPr>
              <a:xfrm>
                <a:off x="1177150" y="2196050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67" name="Straight Connector 66">
                <a:extLst>
                  <a:ext uri="{FF2B5EF4-FFF2-40B4-BE49-F238E27FC236}">
                    <a16:creationId xmlns:a16="http://schemas.microsoft.com/office/drawing/2014/main" id="{71B32B7A-A4BF-4A31-A45A-44DC76828F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Rectangle: Rounded Corners 67">
                <a:extLst>
                  <a:ext uri="{FF2B5EF4-FFF2-40B4-BE49-F238E27FC236}">
                    <a16:creationId xmlns:a16="http://schemas.microsoft.com/office/drawing/2014/main" id="{E87740E4-1F6E-4888-839C-6B93EBDF5999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Rectangle: Rounded Corners 68">
                <a:extLst>
                  <a:ext uri="{FF2B5EF4-FFF2-40B4-BE49-F238E27FC236}">
                    <a16:creationId xmlns:a16="http://schemas.microsoft.com/office/drawing/2014/main" id="{92A34338-3395-4C2A-B404-33BE48CACB59}"/>
                  </a:ext>
                </a:extLst>
              </p:cNvPr>
              <p:cNvSpPr/>
              <p:nvPr/>
            </p:nvSpPr>
            <p:spPr>
              <a:xfrm>
                <a:off x="1124755" y="1908561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/>
                    </a:solidFill>
                  </a:rPr>
                  <a:t>Options Two</a:t>
                </a: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1F25AA5-7BCA-45C1-ADD6-B31344E86665}"/>
                </a:ext>
              </a:extLst>
            </p:cNvPr>
            <p:cNvGrpSpPr/>
            <p:nvPr/>
          </p:nvGrpSpPr>
          <p:grpSpPr>
            <a:xfrm>
              <a:off x="774920" y="3673343"/>
              <a:ext cx="566154" cy="566152"/>
              <a:chOff x="8357949" y="2504451"/>
              <a:chExt cx="717954" cy="717953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8DCD47F1-4278-4210-8CA5-216BBEC2694D}"/>
                  </a:ext>
                </a:extLst>
              </p:cNvPr>
              <p:cNvSpPr/>
              <p:nvPr/>
            </p:nvSpPr>
            <p:spPr>
              <a:xfrm>
                <a:off x="8357949" y="2504451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4"/>
                  </a:gs>
                  <a:gs pos="99000">
                    <a:schemeClr val="accent4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schemeClr val="bg1"/>
                  </a:solidFill>
                  <a:latin typeface="Calibri"/>
                  <a:ea typeface="宋体"/>
                </a:endParaRPr>
              </a:p>
            </p:txBody>
          </p:sp>
          <p:sp>
            <p:nvSpPr>
              <p:cNvPr id="72" name="Graphic 14">
                <a:extLst>
                  <a:ext uri="{FF2B5EF4-FFF2-40B4-BE49-F238E27FC236}">
                    <a16:creationId xmlns:a16="http://schemas.microsoft.com/office/drawing/2014/main" id="{C24391C7-37AF-4388-AA9A-1D0DF4980958}"/>
                  </a:ext>
                </a:extLst>
              </p:cNvPr>
              <p:cNvSpPr/>
              <p:nvPr/>
            </p:nvSpPr>
            <p:spPr>
              <a:xfrm>
                <a:off x="8576663" y="2723164"/>
                <a:ext cx="280526" cy="280526"/>
              </a:xfrm>
              <a:custGeom>
                <a:avLst/>
                <a:gdLst>
                  <a:gd name="connsiteX0" fmla="*/ 266895 w 419725"/>
                  <a:gd name="connsiteY0" fmla="*/ 0 h 419725"/>
                  <a:gd name="connsiteX1" fmla="*/ 114065 w 419725"/>
                  <a:gd name="connsiteY1" fmla="*/ 152823 h 419725"/>
                  <a:gd name="connsiteX2" fmla="*/ 150487 w 419725"/>
                  <a:gd name="connsiteY2" fmla="*/ 251851 h 419725"/>
                  <a:gd name="connsiteX3" fmla="*/ 126369 w 419725"/>
                  <a:gd name="connsiteY3" fmla="*/ 275977 h 419725"/>
                  <a:gd name="connsiteX4" fmla="*/ 117672 w 419725"/>
                  <a:gd name="connsiteY4" fmla="*/ 267271 h 419725"/>
                  <a:gd name="connsiteX5" fmla="*/ 100284 w 419725"/>
                  <a:gd name="connsiteY5" fmla="*/ 267271 h 419725"/>
                  <a:gd name="connsiteX6" fmla="*/ 3600 w 419725"/>
                  <a:gd name="connsiteY6" fmla="*/ 363956 h 419725"/>
                  <a:gd name="connsiteX7" fmla="*/ 3600 w 419725"/>
                  <a:gd name="connsiteY7" fmla="*/ 381343 h 419725"/>
                  <a:gd name="connsiteX8" fmla="*/ 38383 w 419725"/>
                  <a:gd name="connsiteY8" fmla="*/ 416126 h 419725"/>
                  <a:gd name="connsiteX9" fmla="*/ 55770 w 419725"/>
                  <a:gd name="connsiteY9" fmla="*/ 416126 h 419725"/>
                  <a:gd name="connsiteX10" fmla="*/ 152446 w 419725"/>
                  <a:gd name="connsiteY10" fmla="*/ 319442 h 419725"/>
                  <a:gd name="connsiteX11" fmla="*/ 152446 w 419725"/>
                  <a:gd name="connsiteY11" fmla="*/ 302054 h 419725"/>
                  <a:gd name="connsiteX12" fmla="*/ 143757 w 419725"/>
                  <a:gd name="connsiteY12" fmla="*/ 293365 h 419725"/>
                  <a:gd name="connsiteX13" fmla="*/ 167875 w 419725"/>
                  <a:gd name="connsiteY13" fmla="*/ 269239 h 419725"/>
                  <a:gd name="connsiteX14" fmla="*/ 266895 w 419725"/>
                  <a:gd name="connsiteY14" fmla="*/ 305661 h 419725"/>
                  <a:gd name="connsiteX15" fmla="*/ 419726 w 419725"/>
                  <a:gd name="connsiteY15" fmla="*/ 152823 h 419725"/>
                  <a:gd name="connsiteX16" fmla="*/ 266895 w 419725"/>
                  <a:gd name="connsiteY16" fmla="*/ 0 h 419725"/>
                  <a:gd name="connsiteX17" fmla="*/ 266895 w 419725"/>
                  <a:gd name="connsiteY17" fmla="*/ 73780 h 419725"/>
                  <a:gd name="connsiteX18" fmla="*/ 187844 w 419725"/>
                  <a:gd name="connsiteY18" fmla="*/ 152831 h 419725"/>
                  <a:gd name="connsiteX19" fmla="*/ 175548 w 419725"/>
                  <a:gd name="connsiteY19" fmla="*/ 165127 h 419725"/>
                  <a:gd name="connsiteX20" fmla="*/ 163251 w 419725"/>
                  <a:gd name="connsiteY20" fmla="*/ 152831 h 419725"/>
                  <a:gd name="connsiteX21" fmla="*/ 266895 w 419725"/>
                  <a:gd name="connsiteY21" fmla="*/ 49187 h 419725"/>
                  <a:gd name="connsiteX22" fmla="*/ 279192 w 419725"/>
                  <a:gd name="connsiteY22" fmla="*/ 61483 h 419725"/>
                  <a:gd name="connsiteX23" fmla="*/ 266895 w 419725"/>
                  <a:gd name="connsiteY23" fmla="*/ 73780 h 41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19725" h="419725">
                    <a:moveTo>
                      <a:pt x="266895" y="0"/>
                    </a:moveTo>
                    <a:cubicBezTo>
                      <a:pt x="182622" y="0"/>
                      <a:pt x="114065" y="68558"/>
                      <a:pt x="114065" y="152823"/>
                    </a:cubicBezTo>
                    <a:cubicBezTo>
                      <a:pt x="114065" y="189614"/>
                      <a:pt x="127066" y="224299"/>
                      <a:pt x="150487" y="251851"/>
                    </a:cubicBezTo>
                    <a:lnTo>
                      <a:pt x="126369" y="275977"/>
                    </a:lnTo>
                    <a:lnTo>
                      <a:pt x="117672" y="267271"/>
                    </a:lnTo>
                    <a:cubicBezTo>
                      <a:pt x="112868" y="262476"/>
                      <a:pt x="105080" y="262476"/>
                      <a:pt x="100284" y="267271"/>
                    </a:cubicBezTo>
                    <a:lnTo>
                      <a:pt x="3600" y="363956"/>
                    </a:lnTo>
                    <a:cubicBezTo>
                      <a:pt x="-1196" y="368751"/>
                      <a:pt x="-1204" y="376539"/>
                      <a:pt x="3600" y="381343"/>
                    </a:cubicBezTo>
                    <a:lnTo>
                      <a:pt x="38383" y="416126"/>
                    </a:lnTo>
                    <a:cubicBezTo>
                      <a:pt x="43187" y="420922"/>
                      <a:pt x="50966" y="420930"/>
                      <a:pt x="55770" y="416126"/>
                    </a:cubicBezTo>
                    <a:lnTo>
                      <a:pt x="152446" y="319442"/>
                    </a:lnTo>
                    <a:cubicBezTo>
                      <a:pt x="157250" y="314646"/>
                      <a:pt x="157250" y="306858"/>
                      <a:pt x="152446" y="302054"/>
                    </a:cubicBezTo>
                    <a:lnTo>
                      <a:pt x="143757" y="293365"/>
                    </a:lnTo>
                    <a:lnTo>
                      <a:pt x="167875" y="269239"/>
                    </a:lnTo>
                    <a:cubicBezTo>
                      <a:pt x="195493" y="292717"/>
                      <a:pt x="230202" y="305661"/>
                      <a:pt x="266895" y="305661"/>
                    </a:cubicBezTo>
                    <a:cubicBezTo>
                      <a:pt x="351168" y="305661"/>
                      <a:pt x="419726" y="237104"/>
                      <a:pt x="419726" y="152823"/>
                    </a:cubicBezTo>
                    <a:cubicBezTo>
                      <a:pt x="419726" y="68558"/>
                      <a:pt x="351168" y="0"/>
                      <a:pt x="266895" y="0"/>
                    </a:cubicBezTo>
                    <a:close/>
                    <a:moveTo>
                      <a:pt x="266895" y="73780"/>
                    </a:moveTo>
                    <a:cubicBezTo>
                      <a:pt x="223308" y="73780"/>
                      <a:pt x="187844" y="109243"/>
                      <a:pt x="187844" y="152831"/>
                    </a:cubicBezTo>
                    <a:cubicBezTo>
                      <a:pt x="187844" y="159618"/>
                      <a:pt x="182335" y="165127"/>
                      <a:pt x="175548" y="165127"/>
                    </a:cubicBezTo>
                    <a:cubicBezTo>
                      <a:pt x="168752" y="165127"/>
                      <a:pt x="163251" y="159618"/>
                      <a:pt x="163251" y="152831"/>
                    </a:cubicBezTo>
                    <a:cubicBezTo>
                      <a:pt x="163251" y="95684"/>
                      <a:pt x="209749" y="49187"/>
                      <a:pt x="266895" y="49187"/>
                    </a:cubicBezTo>
                    <a:cubicBezTo>
                      <a:pt x="273683" y="49187"/>
                      <a:pt x="279192" y="54695"/>
                      <a:pt x="279192" y="61483"/>
                    </a:cubicBezTo>
                    <a:cubicBezTo>
                      <a:pt x="279192" y="68271"/>
                      <a:pt x="273683" y="73780"/>
                      <a:pt x="266895" y="73780"/>
                    </a:cubicBezTo>
                    <a:close/>
                  </a:path>
                </a:pathLst>
              </a:custGeom>
              <a:solidFill>
                <a:schemeClr val="bg1"/>
              </a:solidFill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4262FC4A-EE5F-4E0E-B757-D46B6A963D67}"/>
              </a:ext>
            </a:extLst>
          </p:cNvPr>
          <p:cNvGrpSpPr/>
          <p:nvPr/>
        </p:nvGrpSpPr>
        <p:grpSpPr>
          <a:xfrm>
            <a:off x="769759" y="4591932"/>
            <a:ext cx="3284645" cy="955044"/>
            <a:chOff x="769759" y="4591932"/>
            <a:chExt cx="3284645" cy="955044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C56E2C09-36CA-4B2D-94B3-63079CDC14DB}"/>
                </a:ext>
              </a:extLst>
            </p:cNvPr>
            <p:cNvGrpSpPr/>
            <p:nvPr/>
          </p:nvGrpSpPr>
          <p:grpSpPr>
            <a:xfrm>
              <a:off x="1533914" y="4591932"/>
              <a:ext cx="2520490" cy="955044"/>
              <a:chOff x="1052845" y="1908561"/>
              <a:chExt cx="2520490" cy="955044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21F52DA5-5CB2-4339-B0EB-1FB15B1FC3E3}"/>
                  </a:ext>
                </a:extLst>
              </p:cNvPr>
              <p:cNvSpPr txBox="1"/>
              <p:nvPr/>
            </p:nvSpPr>
            <p:spPr>
              <a:xfrm>
                <a:off x="1177150" y="2196050"/>
                <a:ext cx="2396185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06D344F4-C327-4502-9CD6-5B4D7289F9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75704" y="1971901"/>
                <a:ext cx="0" cy="877111"/>
              </a:xfrm>
              <a:prstGeom prst="line">
                <a:avLst/>
              </a:prstGeom>
              <a:ln>
                <a:solidFill>
                  <a:schemeClr val="bg1">
                    <a:lumMod val="50000"/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Rectangle: Rounded Corners 75">
                <a:extLst>
                  <a:ext uri="{FF2B5EF4-FFF2-40B4-BE49-F238E27FC236}">
                    <a16:creationId xmlns:a16="http://schemas.microsoft.com/office/drawing/2014/main" id="{4A4C0071-37EA-47FD-80C1-D42AB5586B7D}"/>
                  </a:ext>
                </a:extLst>
              </p:cNvPr>
              <p:cNvSpPr/>
              <p:nvPr/>
            </p:nvSpPr>
            <p:spPr>
              <a:xfrm>
                <a:off x="1052845" y="2157659"/>
                <a:ext cx="45719" cy="505595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Rectangle: Rounded Corners 76">
                <a:extLst>
                  <a:ext uri="{FF2B5EF4-FFF2-40B4-BE49-F238E27FC236}">
                    <a16:creationId xmlns:a16="http://schemas.microsoft.com/office/drawing/2014/main" id="{49115928-A70D-4645-974B-08060DFDE5B1}"/>
                  </a:ext>
                </a:extLst>
              </p:cNvPr>
              <p:cNvSpPr/>
              <p:nvPr/>
            </p:nvSpPr>
            <p:spPr>
              <a:xfrm>
                <a:off x="1124755" y="1908561"/>
                <a:ext cx="1574252" cy="392113"/>
              </a:xfrm>
              <a:prstGeom prst="roundRect">
                <a:avLst>
                  <a:gd name="adj" fmla="val 5000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bg1"/>
                    </a:solidFill>
                  </a:rPr>
                  <a:t>Options Three</a:t>
                </a:r>
              </a:p>
            </p:txBody>
          </p:sp>
        </p:grp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551F7C6-8EFA-43D5-88C7-B6FFE11DECED}"/>
                </a:ext>
              </a:extLst>
            </p:cNvPr>
            <p:cNvGrpSpPr/>
            <p:nvPr/>
          </p:nvGrpSpPr>
          <p:grpSpPr>
            <a:xfrm>
              <a:off x="769759" y="4773873"/>
              <a:ext cx="561830" cy="561828"/>
              <a:chOff x="-405969" y="3842358"/>
              <a:chExt cx="717954" cy="717953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F1F95AAF-0A86-4D2B-89FA-8554696F961C}"/>
                  </a:ext>
                </a:extLst>
              </p:cNvPr>
              <p:cNvSpPr/>
              <p:nvPr/>
            </p:nvSpPr>
            <p:spPr>
              <a:xfrm>
                <a:off x="-405969" y="3842358"/>
                <a:ext cx="717954" cy="717953"/>
              </a:xfrm>
              <a:prstGeom prst="ellipse">
                <a:avLst/>
              </a:prstGeom>
              <a:gradFill>
                <a:gsLst>
                  <a:gs pos="0">
                    <a:schemeClr val="accent2"/>
                  </a:gs>
                  <a:gs pos="99000">
                    <a:schemeClr val="accent2">
                      <a:lumMod val="75000"/>
                    </a:schemeClr>
                  </a:gs>
                </a:gsLst>
                <a:lin ang="2700000" scaled="1"/>
              </a:gradFill>
              <a:ln w="25400" cap="flat" cmpd="sng" algn="ctr">
                <a:noFill/>
                <a:prstDash val="solid"/>
              </a:ln>
              <a:effectLst>
                <a:outerShdw blurRad="228600" dist="38100" dir="2700000" algn="tl" rotWithShape="0">
                  <a:prstClr val="black">
                    <a:alpha val="10000"/>
                  </a:prstClr>
                </a:outerShdw>
              </a:effectLst>
            </p:spPr>
            <p:txBody>
              <a:bodyPr rtlCol="0" anchor="ctr"/>
              <a:lstStyle/>
              <a:p>
                <a:pPr algn="ctr"/>
                <a:endParaRPr lang="en-US" kern="0" dirty="0">
                  <a:solidFill>
                    <a:schemeClr val="bg1"/>
                  </a:solidFill>
                  <a:latin typeface="Calibri"/>
                  <a:ea typeface="宋体"/>
                </a:endParaRPr>
              </a:p>
            </p:txBody>
          </p:sp>
          <p:grpSp>
            <p:nvGrpSpPr>
              <p:cNvPr id="80" name="Graphic 40">
                <a:extLst>
                  <a:ext uri="{FF2B5EF4-FFF2-40B4-BE49-F238E27FC236}">
                    <a16:creationId xmlns:a16="http://schemas.microsoft.com/office/drawing/2014/main" id="{9DF7F5F9-464A-452E-9941-075EA0F43DFA}"/>
                  </a:ext>
                </a:extLst>
              </p:cNvPr>
              <p:cNvGrpSpPr/>
              <p:nvPr/>
            </p:nvGrpSpPr>
            <p:grpSpPr>
              <a:xfrm>
                <a:off x="-146357" y="4059514"/>
                <a:ext cx="206081" cy="283640"/>
                <a:chOff x="4074593" y="1724490"/>
                <a:chExt cx="304956" cy="419725"/>
              </a:xfrm>
              <a:solidFill>
                <a:schemeClr val="bg1"/>
              </a:solidFill>
            </p:grpSpPr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3CC26F18-5338-4256-B484-E41F98E5FFC2}"/>
                    </a:ext>
                  </a:extLst>
                </p:cNvPr>
                <p:cNvSpPr/>
                <p:nvPr/>
              </p:nvSpPr>
              <p:spPr>
                <a:xfrm>
                  <a:off x="4074593" y="1922056"/>
                  <a:ext cx="304956" cy="222159"/>
                </a:xfrm>
                <a:custGeom>
                  <a:avLst/>
                  <a:gdLst>
                    <a:gd name="connsiteX0" fmla="*/ 292971 w 304956"/>
                    <a:gd name="connsiteY0" fmla="*/ 0 h 222159"/>
                    <a:gd name="connsiteX1" fmla="*/ 12297 w 304956"/>
                    <a:gd name="connsiteY1" fmla="*/ 0 h 222159"/>
                    <a:gd name="connsiteX2" fmla="*/ 0 w 304956"/>
                    <a:gd name="connsiteY2" fmla="*/ 12297 h 222159"/>
                    <a:gd name="connsiteX3" fmla="*/ 0 w 304956"/>
                    <a:gd name="connsiteY3" fmla="*/ 141690 h 222159"/>
                    <a:gd name="connsiteX4" fmla="*/ 80477 w 304956"/>
                    <a:gd name="connsiteY4" fmla="*/ 222159 h 222159"/>
                    <a:gd name="connsiteX5" fmla="*/ 224799 w 304956"/>
                    <a:gd name="connsiteY5" fmla="*/ 222159 h 222159"/>
                    <a:gd name="connsiteX6" fmla="*/ 305268 w 304956"/>
                    <a:gd name="connsiteY6" fmla="*/ 141690 h 222159"/>
                    <a:gd name="connsiteX7" fmla="*/ 305268 w 304956"/>
                    <a:gd name="connsiteY7" fmla="*/ 12297 h 222159"/>
                    <a:gd name="connsiteX8" fmla="*/ 292971 w 304956"/>
                    <a:gd name="connsiteY8" fmla="*/ 0 h 222159"/>
                    <a:gd name="connsiteX9" fmla="*/ 171735 w 304956"/>
                    <a:gd name="connsiteY9" fmla="*/ 104275 h 222159"/>
                    <a:gd name="connsiteX10" fmla="*/ 164931 w 304956"/>
                    <a:gd name="connsiteY10" fmla="*/ 104275 h 222159"/>
                    <a:gd name="connsiteX11" fmla="*/ 164931 w 304956"/>
                    <a:gd name="connsiteY11" fmla="*/ 130180 h 222159"/>
                    <a:gd name="connsiteX12" fmla="*/ 152634 w 304956"/>
                    <a:gd name="connsiteY12" fmla="*/ 142477 h 222159"/>
                    <a:gd name="connsiteX13" fmla="*/ 140337 w 304956"/>
                    <a:gd name="connsiteY13" fmla="*/ 130180 h 222159"/>
                    <a:gd name="connsiteX14" fmla="*/ 140337 w 304956"/>
                    <a:gd name="connsiteY14" fmla="*/ 104275 h 222159"/>
                    <a:gd name="connsiteX15" fmla="*/ 133533 w 304956"/>
                    <a:gd name="connsiteY15" fmla="*/ 104275 h 222159"/>
                    <a:gd name="connsiteX16" fmla="*/ 121237 w 304956"/>
                    <a:gd name="connsiteY16" fmla="*/ 91979 h 222159"/>
                    <a:gd name="connsiteX17" fmla="*/ 133533 w 304956"/>
                    <a:gd name="connsiteY17" fmla="*/ 79682 h 222159"/>
                    <a:gd name="connsiteX18" fmla="*/ 171735 w 304956"/>
                    <a:gd name="connsiteY18" fmla="*/ 79682 h 222159"/>
                    <a:gd name="connsiteX19" fmla="*/ 184031 w 304956"/>
                    <a:gd name="connsiteY19" fmla="*/ 91979 h 222159"/>
                    <a:gd name="connsiteX20" fmla="*/ 171735 w 304956"/>
                    <a:gd name="connsiteY20" fmla="*/ 104275 h 22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04956" h="222159">
                      <a:moveTo>
                        <a:pt x="292971" y="0"/>
                      </a:moveTo>
                      <a:lnTo>
                        <a:pt x="12297" y="0"/>
                      </a:lnTo>
                      <a:cubicBezTo>
                        <a:pt x="5509" y="0"/>
                        <a:pt x="0" y="5509"/>
                        <a:pt x="0" y="12297"/>
                      </a:cubicBezTo>
                      <a:lnTo>
                        <a:pt x="0" y="141690"/>
                      </a:lnTo>
                      <a:cubicBezTo>
                        <a:pt x="0" y="186056"/>
                        <a:pt x="36103" y="222159"/>
                        <a:pt x="80477" y="222159"/>
                      </a:cubicBezTo>
                      <a:lnTo>
                        <a:pt x="224799" y="222159"/>
                      </a:lnTo>
                      <a:cubicBezTo>
                        <a:pt x="269165" y="222159"/>
                        <a:pt x="305268" y="186056"/>
                        <a:pt x="305268" y="141690"/>
                      </a:cubicBezTo>
                      <a:lnTo>
                        <a:pt x="305268" y="12297"/>
                      </a:lnTo>
                      <a:cubicBezTo>
                        <a:pt x="305268" y="5509"/>
                        <a:pt x="299759" y="0"/>
                        <a:pt x="292971" y="0"/>
                      </a:cubicBezTo>
                      <a:close/>
                      <a:moveTo>
                        <a:pt x="171735" y="104275"/>
                      </a:moveTo>
                      <a:lnTo>
                        <a:pt x="164931" y="104275"/>
                      </a:lnTo>
                      <a:lnTo>
                        <a:pt x="164931" y="130180"/>
                      </a:lnTo>
                      <a:cubicBezTo>
                        <a:pt x="164931" y="136976"/>
                        <a:pt x="159422" y="142477"/>
                        <a:pt x="152634" y="142477"/>
                      </a:cubicBezTo>
                      <a:cubicBezTo>
                        <a:pt x="145846" y="142477"/>
                        <a:pt x="140337" y="136976"/>
                        <a:pt x="140337" y="130180"/>
                      </a:cubicBezTo>
                      <a:lnTo>
                        <a:pt x="140337" y="104275"/>
                      </a:lnTo>
                      <a:lnTo>
                        <a:pt x="133533" y="104275"/>
                      </a:lnTo>
                      <a:cubicBezTo>
                        <a:pt x="126737" y="104275"/>
                        <a:pt x="121237" y="98767"/>
                        <a:pt x="121237" y="91979"/>
                      </a:cubicBezTo>
                      <a:cubicBezTo>
                        <a:pt x="121237" y="85183"/>
                        <a:pt x="126737" y="79682"/>
                        <a:pt x="133533" y="79682"/>
                      </a:cubicBezTo>
                      <a:lnTo>
                        <a:pt x="171735" y="79682"/>
                      </a:lnTo>
                      <a:cubicBezTo>
                        <a:pt x="178531" y="79682"/>
                        <a:pt x="184031" y="85183"/>
                        <a:pt x="184031" y="91979"/>
                      </a:cubicBezTo>
                      <a:cubicBezTo>
                        <a:pt x="184031" y="98767"/>
                        <a:pt x="178531" y="104275"/>
                        <a:pt x="171735" y="104275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2" name="Freeform: Shape 81">
                  <a:extLst>
                    <a:ext uri="{FF2B5EF4-FFF2-40B4-BE49-F238E27FC236}">
                      <a16:creationId xmlns:a16="http://schemas.microsoft.com/office/drawing/2014/main" id="{FEA4EAA9-15C2-4338-8F4D-4B5DF3BF82EF}"/>
                    </a:ext>
                  </a:extLst>
                </p:cNvPr>
                <p:cNvSpPr/>
                <p:nvPr/>
              </p:nvSpPr>
              <p:spPr>
                <a:xfrm>
                  <a:off x="4099186" y="1724490"/>
                  <a:ext cx="255770" cy="172973"/>
                </a:xfrm>
                <a:custGeom>
                  <a:avLst/>
                  <a:gdLst>
                    <a:gd name="connsiteX0" fmla="*/ 128041 w 255769"/>
                    <a:gd name="connsiteY0" fmla="*/ 0 h 172972"/>
                    <a:gd name="connsiteX1" fmla="*/ 0 w 255769"/>
                    <a:gd name="connsiteY1" fmla="*/ 128041 h 172972"/>
                    <a:gd name="connsiteX2" fmla="*/ 0 w 255769"/>
                    <a:gd name="connsiteY2" fmla="*/ 172973 h 172972"/>
                    <a:gd name="connsiteX3" fmla="*/ 24593 w 255769"/>
                    <a:gd name="connsiteY3" fmla="*/ 172973 h 172972"/>
                    <a:gd name="connsiteX4" fmla="*/ 24593 w 255769"/>
                    <a:gd name="connsiteY4" fmla="*/ 128041 h 172972"/>
                    <a:gd name="connsiteX5" fmla="*/ 128041 w 255769"/>
                    <a:gd name="connsiteY5" fmla="*/ 24593 h 172972"/>
                    <a:gd name="connsiteX6" fmla="*/ 231488 w 255769"/>
                    <a:gd name="connsiteY6" fmla="*/ 128041 h 172972"/>
                    <a:gd name="connsiteX7" fmla="*/ 231488 w 255769"/>
                    <a:gd name="connsiteY7" fmla="*/ 172973 h 172972"/>
                    <a:gd name="connsiteX8" fmla="*/ 256081 w 255769"/>
                    <a:gd name="connsiteY8" fmla="*/ 172973 h 172972"/>
                    <a:gd name="connsiteX9" fmla="*/ 256081 w 255769"/>
                    <a:gd name="connsiteY9" fmla="*/ 128041 h 172972"/>
                    <a:gd name="connsiteX10" fmla="*/ 128041 w 255769"/>
                    <a:gd name="connsiteY10" fmla="*/ 0 h 172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5769" h="172972">
                      <a:moveTo>
                        <a:pt x="128041" y="0"/>
                      </a:moveTo>
                      <a:cubicBezTo>
                        <a:pt x="57442" y="0"/>
                        <a:pt x="0" y="57442"/>
                        <a:pt x="0" y="128041"/>
                      </a:cubicBezTo>
                      <a:lnTo>
                        <a:pt x="0" y="172973"/>
                      </a:lnTo>
                      <a:lnTo>
                        <a:pt x="24593" y="172973"/>
                      </a:lnTo>
                      <a:lnTo>
                        <a:pt x="24593" y="128041"/>
                      </a:lnTo>
                      <a:cubicBezTo>
                        <a:pt x="24593" y="71001"/>
                        <a:pt x="71001" y="24593"/>
                        <a:pt x="128041" y="24593"/>
                      </a:cubicBezTo>
                      <a:cubicBezTo>
                        <a:pt x="185081" y="24593"/>
                        <a:pt x="231488" y="71001"/>
                        <a:pt x="231488" y="128041"/>
                      </a:cubicBezTo>
                      <a:lnTo>
                        <a:pt x="231488" y="172973"/>
                      </a:lnTo>
                      <a:lnTo>
                        <a:pt x="256081" y="172973"/>
                      </a:lnTo>
                      <a:lnTo>
                        <a:pt x="256081" y="128041"/>
                      </a:lnTo>
                      <a:cubicBezTo>
                        <a:pt x="256081" y="57442"/>
                        <a:pt x="198640" y="0"/>
                        <a:pt x="128041" y="0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375170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2B36E42-709A-4FC7-8A55-1B629C3B90D8}"/>
              </a:ext>
            </a:extLst>
          </p:cNvPr>
          <p:cNvGrpSpPr/>
          <p:nvPr/>
        </p:nvGrpSpPr>
        <p:grpSpPr>
          <a:xfrm>
            <a:off x="1398147" y="576691"/>
            <a:ext cx="9395705" cy="5704619"/>
            <a:chOff x="1819112" y="362796"/>
            <a:chExt cx="9395705" cy="5704619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13BBA82-143C-4B2F-AA8E-163A698BB1E4}"/>
                </a:ext>
              </a:extLst>
            </p:cNvPr>
            <p:cNvGrpSpPr/>
            <p:nvPr/>
          </p:nvGrpSpPr>
          <p:grpSpPr>
            <a:xfrm>
              <a:off x="3056651" y="790584"/>
              <a:ext cx="8158166" cy="5276831"/>
              <a:chOff x="2822735" y="753754"/>
              <a:chExt cx="8158166" cy="5276831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0D7D3F82-EC5A-4071-9898-58341F17EDB9}"/>
                  </a:ext>
                </a:extLst>
              </p:cNvPr>
              <p:cNvGrpSpPr/>
              <p:nvPr/>
            </p:nvGrpSpPr>
            <p:grpSpPr>
              <a:xfrm>
                <a:off x="5697280" y="1029913"/>
                <a:ext cx="5162550" cy="4677137"/>
                <a:chOff x="6070536" y="1256960"/>
                <a:chExt cx="5162550" cy="4677137"/>
              </a:xfrm>
            </p:grpSpPr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25CCC19E-72AF-42CE-BC29-B7FA61C2F94A}"/>
                    </a:ext>
                  </a:extLst>
                </p:cNvPr>
                <p:cNvSpPr/>
                <p:nvPr/>
              </p:nvSpPr>
              <p:spPr>
                <a:xfrm>
                  <a:off x="9842436" y="1256960"/>
                  <a:ext cx="1390650" cy="1390650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38100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9108F8AA-C5AC-49E4-89DB-9CDA5BD0DEED}"/>
                    </a:ext>
                  </a:extLst>
                </p:cNvPr>
                <p:cNvSpPr/>
                <p:nvPr/>
              </p:nvSpPr>
              <p:spPr>
                <a:xfrm>
                  <a:off x="8585136" y="2355170"/>
                  <a:ext cx="1390650" cy="1390650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28575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C27734CB-A3B8-4485-84F4-635E7B0947E4}"/>
                    </a:ext>
                  </a:extLst>
                </p:cNvPr>
                <p:cNvSpPr/>
                <p:nvPr/>
              </p:nvSpPr>
              <p:spPr>
                <a:xfrm>
                  <a:off x="7327836" y="3450431"/>
                  <a:ext cx="1390650" cy="1390650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19050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82F496A2-9A3B-421C-8B92-CDB068A3A05F}"/>
                    </a:ext>
                  </a:extLst>
                </p:cNvPr>
                <p:cNvSpPr/>
                <p:nvPr/>
              </p:nvSpPr>
              <p:spPr>
                <a:xfrm>
                  <a:off x="6070536" y="4543447"/>
                  <a:ext cx="1390650" cy="1390650"/>
                </a:xfrm>
                <a:prstGeom prst="rect">
                  <a:avLst/>
                </a:prstGeom>
                <a:ln>
                  <a:noFill/>
                </a:ln>
                <a:scene3d>
                  <a:camera prst="isometricOffAxis1Top"/>
                  <a:lightRig rig="morning" dir="t"/>
                </a:scene3d>
                <a:sp3d prstMaterial="matte">
                  <a:bevelT w="0" h="9525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5400" dirty="0">
                    <a:solidFill>
                      <a:schemeClr val="bg1"/>
                    </a:solidFill>
                    <a:latin typeface="Segoe UI Semibold" panose="020B0702040204020203" pitchFamily="34" charset="0"/>
                    <a:cs typeface="Segoe UI Semibold" panose="020B0702040204020203" pitchFamily="34" charset="0"/>
                  </a:endParaRPr>
                </a:p>
              </p:txBody>
            </p:sp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E41170D3-D0CA-4381-ACBF-92B8A042D500}"/>
                  </a:ext>
                </a:extLst>
              </p:cNvPr>
              <p:cNvGrpSpPr/>
              <p:nvPr/>
            </p:nvGrpSpPr>
            <p:grpSpPr>
              <a:xfrm>
                <a:off x="2822735" y="4763055"/>
                <a:ext cx="2492784" cy="1131157"/>
                <a:chOff x="2586658" y="4901439"/>
                <a:chExt cx="2492784" cy="1131157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4AF05318-8652-4793-B91B-0CB9219BC5EE}"/>
                    </a:ext>
                  </a:extLst>
                </p:cNvPr>
                <p:cNvGrpSpPr/>
                <p:nvPr/>
              </p:nvGrpSpPr>
              <p:grpSpPr>
                <a:xfrm>
                  <a:off x="2674289" y="4901439"/>
                  <a:ext cx="2366225" cy="1131157"/>
                  <a:chOff x="687840" y="610040"/>
                  <a:chExt cx="2918959" cy="1274939"/>
                </a:xfrm>
                <a:gradFill>
                  <a:gsLst>
                    <a:gs pos="17000">
                      <a:schemeClr val="accent1"/>
                    </a:gs>
                    <a:gs pos="100000">
                      <a:schemeClr val="accent5"/>
                    </a:gs>
                  </a:gsLst>
                  <a:lin ang="2700000" scaled="1"/>
                </a:gradFill>
              </p:grpSpPr>
              <p:sp>
                <p:nvSpPr>
                  <p:cNvPr id="30" name="Rounded Rectangle 59">
                    <a:extLst>
                      <a:ext uri="{FF2B5EF4-FFF2-40B4-BE49-F238E27FC236}">
                        <a16:creationId xmlns:a16="http://schemas.microsoft.com/office/drawing/2014/main" id="{4209D0D1-FFE6-4EDF-A933-203EC61C708F}"/>
                      </a:ext>
                    </a:extLst>
                  </p:cNvPr>
                  <p:cNvSpPr/>
                  <p:nvPr/>
                </p:nvSpPr>
                <p:spPr>
                  <a:xfrm>
                    <a:off x="687840" y="610040"/>
                    <a:ext cx="2918959" cy="1274939"/>
                  </a:xfrm>
                  <a:prstGeom prst="roundRect">
                    <a:avLst>
                      <a:gd name="adj" fmla="val 11161"/>
                    </a:avLst>
                  </a:prstGeom>
                  <a:gradFill flip="none" rotWithShape="1">
                    <a:gsLst>
                      <a:gs pos="0">
                        <a:schemeClr val="accent1"/>
                      </a:gs>
                      <a:gs pos="100000">
                        <a:schemeClr val="accent1">
                          <a:lumMod val="75000"/>
                        </a:schemeClr>
                      </a:gs>
                    </a:gsLst>
                    <a:lin ang="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31" name="Round Same Side Corner Rectangle 65">
                    <a:extLst>
                      <a:ext uri="{FF2B5EF4-FFF2-40B4-BE49-F238E27FC236}">
                        <a16:creationId xmlns:a16="http://schemas.microsoft.com/office/drawing/2014/main" id="{79923EA8-C799-4452-980C-C3B2D0628DA7}"/>
                      </a:ext>
                    </a:extLst>
                  </p:cNvPr>
                  <p:cNvSpPr/>
                  <p:nvPr/>
                </p:nvSpPr>
                <p:spPr>
                  <a:xfrm flipV="1">
                    <a:off x="689910" y="1358642"/>
                    <a:ext cx="2913508" cy="526337"/>
                  </a:xfrm>
                  <a:prstGeom prst="round2SameRect">
                    <a:avLst>
                      <a:gd name="adj1" fmla="val 28070"/>
                      <a:gd name="adj2" fmla="val 0"/>
                    </a:avLst>
                  </a:prstGeom>
                  <a:solidFill>
                    <a:schemeClr val="tx1">
                      <a:alpha val="15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F032DA5D-E44E-46B3-92AB-C69B87AF349D}"/>
                    </a:ext>
                  </a:extLst>
                </p:cNvPr>
                <p:cNvGrpSpPr/>
                <p:nvPr/>
              </p:nvGrpSpPr>
              <p:grpSpPr>
                <a:xfrm>
                  <a:off x="2816873" y="5002053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28" name="Freeform: Shape 27">
                    <a:extLst>
                      <a:ext uri="{FF2B5EF4-FFF2-40B4-BE49-F238E27FC236}">
                        <a16:creationId xmlns:a16="http://schemas.microsoft.com/office/drawing/2014/main" id="{EB73EEBE-ABFF-4C70-B23F-5034B12FBF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9" name="Freeform 5">
                    <a:extLst>
                      <a:ext uri="{FF2B5EF4-FFF2-40B4-BE49-F238E27FC236}">
                        <a16:creationId xmlns:a16="http://schemas.microsoft.com/office/drawing/2014/main" id="{77B44EA7-03AC-4DD2-BED4-61EE91DD7B5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7D636612-4E06-40A1-9D94-245A1E43CE9F}"/>
                    </a:ext>
                  </a:extLst>
                </p:cNvPr>
                <p:cNvSpPr/>
                <p:nvPr/>
              </p:nvSpPr>
              <p:spPr>
                <a:xfrm>
                  <a:off x="2586658" y="5621344"/>
                  <a:ext cx="2492784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76F35707-675F-4B23-8B3C-7BEAAC1E10F6}"/>
                    </a:ext>
                  </a:extLst>
                </p:cNvPr>
                <p:cNvSpPr txBox="1"/>
                <p:nvPr/>
              </p:nvSpPr>
              <p:spPr>
                <a:xfrm>
                  <a:off x="4368640" y="4959910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20%</a:t>
                  </a:r>
                </a:p>
              </p:txBody>
            </p:sp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64B937AB-7BF1-49CE-A211-1053D2A9C2AD}"/>
                    </a:ext>
                  </a:extLst>
                </p:cNvPr>
                <p:cNvSpPr/>
                <p:nvPr/>
              </p:nvSpPr>
              <p:spPr>
                <a:xfrm>
                  <a:off x="3719899" y="5202363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25" name="Freeform 20">
                  <a:extLst>
                    <a:ext uri="{FF2B5EF4-FFF2-40B4-BE49-F238E27FC236}">
                      <a16:creationId xmlns:a16="http://schemas.microsoft.com/office/drawing/2014/main" id="{D3221295-359B-479A-9FBB-830255BD0F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936748" y="5121974"/>
                  <a:ext cx="204345" cy="207244"/>
                </a:xfrm>
                <a:custGeom>
                  <a:avLst/>
                  <a:gdLst>
                    <a:gd name="T0" fmla="*/ 211227 w 497"/>
                    <a:gd name="T1" fmla="*/ 3596 h 505"/>
                    <a:gd name="T2" fmla="*/ 211227 w 497"/>
                    <a:gd name="T3" fmla="*/ 3596 h 505"/>
                    <a:gd name="T4" fmla="*/ 203571 w 497"/>
                    <a:gd name="T5" fmla="*/ 0 h 505"/>
                    <a:gd name="T6" fmla="*/ 199518 w 497"/>
                    <a:gd name="T7" fmla="*/ 7642 h 505"/>
                    <a:gd name="T8" fmla="*/ 171594 w 497"/>
                    <a:gd name="T9" fmla="*/ 75521 h 505"/>
                    <a:gd name="T10" fmla="*/ 167541 w 497"/>
                    <a:gd name="T11" fmla="*/ 63384 h 505"/>
                    <a:gd name="T12" fmla="*/ 155831 w 497"/>
                    <a:gd name="T13" fmla="*/ 59338 h 505"/>
                    <a:gd name="T14" fmla="*/ 119350 w 497"/>
                    <a:gd name="T15" fmla="*/ 59338 h 505"/>
                    <a:gd name="T16" fmla="*/ 108091 w 497"/>
                    <a:gd name="T17" fmla="*/ 63384 h 505"/>
                    <a:gd name="T18" fmla="*/ 4053 w 497"/>
                    <a:gd name="T19" fmla="*/ 134859 h 505"/>
                    <a:gd name="T20" fmla="*/ 4053 w 497"/>
                    <a:gd name="T21" fmla="*/ 151042 h 505"/>
                    <a:gd name="T22" fmla="*/ 47740 w 497"/>
                    <a:gd name="T23" fmla="*/ 218472 h 505"/>
                    <a:gd name="T24" fmla="*/ 63954 w 497"/>
                    <a:gd name="T25" fmla="*/ 222518 h 505"/>
                    <a:gd name="T26" fmla="*/ 167541 w 497"/>
                    <a:gd name="T27" fmla="*/ 146997 h 505"/>
                    <a:gd name="T28" fmla="*/ 175648 w 497"/>
                    <a:gd name="T29" fmla="*/ 138905 h 505"/>
                    <a:gd name="T30" fmla="*/ 187357 w 497"/>
                    <a:gd name="T31" fmla="*/ 102943 h 505"/>
                    <a:gd name="T32" fmla="*/ 183754 w 497"/>
                    <a:gd name="T33" fmla="*/ 91255 h 505"/>
                    <a:gd name="T34" fmla="*/ 179701 w 497"/>
                    <a:gd name="T35" fmla="*/ 83163 h 505"/>
                    <a:gd name="T36" fmla="*/ 211227 w 497"/>
                    <a:gd name="T37" fmla="*/ 3596 h 505"/>
                    <a:gd name="T38" fmla="*/ 163487 w 497"/>
                    <a:gd name="T39" fmla="*/ 111034 h 505"/>
                    <a:gd name="T40" fmla="*/ 163487 w 497"/>
                    <a:gd name="T41" fmla="*/ 111034 h 505"/>
                    <a:gd name="T42" fmla="*/ 139617 w 497"/>
                    <a:gd name="T43" fmla="*/ 102943 h 505"/>
                    <a:gd name="T44" fmla="*/ 143671 w 497"/>
                    <a:gd name="T45" fmla="*/ 79117 h 505"/>
                    <a:gd name="T46" fmla="*/ 163487 w 497"/>
                    <a:gd name="T47" fmla="*/ 79117 h 505"/>
                    <a:gd name="T48" fmla="*/ 159884 w 497"/>
                    <a:gd name="T49" fmla="*/ 83163 h 505"/>
                    <a:gd name="T50" fmla="*/ 155831 w 497"/>
                    <a:gd name="T51" fmla="*/ 91255 h 505"/>
                    <a:gd name="T52" fmla="*/ 159884 w 497"/>
                    <a:gd name="T53" fmla="*/ 95301 h 505"/>
                    <a:gd name="T54" fmla="*/ 163487 w 497"/>
                    <a:gd name="T55" fmla="*/ 95301 h 505"/>
                    <a:gd name="T56" fmla="*/ 171594 w 497"/>
                    <a:gd name="T57" fmla="*/ 91255 h 505"/>
                    <a:gd name="T58" fmla="*/ 163487 w 497"/>
                    <a:gd name="T59" fmla="*/ 111034 h 505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0" t="0" r="r" b="b"/>
                  <a:pathLst>
                    <a:path w="497" h="505">
                      <a:moveTo>
                        <a:pt x="469" y="8"/>
                      </a:moveTo>
                      <a:lnTo>
                        <a:pt x="469" y="8"/>
                      </a:lnTo>
                      <a:cubicBezTo>
                        <a:pt x="469" y="8"/>
                        <a:pt x="461" y="0"/>
                        <a:pt x="452" y="0"/>
                      </a:cubicBezTo>
                      <a:cubicBezTo>
                        <a:pt x="443" y="8"/>
                        <a:pt x="443" y="17"/>
                        <a:pt x="443" y="17"/>
                      </a:cubicBezTo>
                      <a:cubicBezTo>
                        <a:pt x="461" y="88"/>
                        <a:pt x="416" y="141"/>
                        <a:pt x="381" y="168"/>
                      </a:cubicBezTo>
                      <a:cubicBezTo>
                        <a:pt x="372" y="141"/>
                        <a:pt x="372" y="141"/>
                        <a:pt x="372" y="141"/>
                      </a:cubicBezTo>
                      <a:cubicBezTo>
                        <a:pt x="363" y="141"/>
                        <a:pt x="355" y="132"/>
                        <a:pt x="346" y="132"/>
                      </a:cubicBezTo>
                      <a:cubicBezTo>
                        <a:pt x="265" y="132"/>
                        <a:pt x="265" y="132"/>
                        <a:pt x="265" y="132"/>
                      </a:cubicBezTo>
                      <a:cubicBezTo>
                        <a:pt x="257" y="132"/>
                        <a:pt x="248" y="132"/>
                        <a:pt x="240" y="141"/>
                      </a:cubicBezTo>
                      <a:cubicBezTo>
                        <a:pt x="9" y="300"/>
                        <a:pt x="9" y="300"/>
                        <a:pt x="9" y="300"/>
                      </a:cubicBezTo>
                      <a:cubicBezTo>
                        <a:pt x="0" y="309"/>
                        <a:pt x="0" y="327"/>
                        <a:pt x="9" y="336"/>
                      </a:cubicBezTo>
                      <a:cubicBezTo>
                        <a:pt x="106" y="486"/>
                        <a:pt x="106" y="486"/>
                        <a:pt x="106" y="486"/>
                      </a:cubicBezTo>
                      <a:cubicBezTo>
                        <a:pt x="115" y="504"/>
                        <a:pt x="133" y="495"/>
                        <a:pt x="142" y="495"/>
                      </a:cubicBezTo>
                      <a:cubicBezTo>
                        <a:pt x="372" y="327"/>
                        <a:pt x="372" y="327"/>
                        <a:pt x="372" y="327"/>
                      </a:cubicBezTo>
                      <a:cubicBezTo>
                        <a:pt x="381" y="327"/>
                        <a:pt x="390" y="309"/>
                        <a:pt x="390" y="309"/>
                      </a:cubicBezTo>
                      <a:cubicBezTo>
                        <a:pt x="416" y="229"/>
                        <a:pt x="416" y="229"/>
                        <a:pt x="416" y="229"/>
                      </a:cubicBezTo>
                      <a:cubicBezTo>
                        <a:pt x="416" y="221"/>
                        <a:pt x="416" y="212"/>
                        <a:pt x="408" y="203"/>
                      </a:cubicBezTo>
                      <a:cubicBezTo>
                        <a:pt x="399" y="185"/>
                        <a:pt x="399" y="185"/>
                        <a:pt x="399" y="185"/>
                      </a:cubicBezTo>
                      <a:cubicBezTo>
                        <a:pt x="452" y="150"/>
                        <a:pt x="496" y="88"/>
                        <a:pt x="469" y="8"/>
                      </a:cubicBezTo>
                      <a:close/>
                      <a:moveTo>
                        <a:pt x="363" y="247"/>
                      </a:moveTo>
                      <a:lnTo>
                        <a:pt x="363" y="247"/>
                      </a:lnTo>
                      <a:cubicBezTo>
                        <a:pt x="346" y="256"/>
                        <a:pt x="319" y="256"/>
                        <a:pt x="310" y="229"/>
                      </a:cubicBezTo>
                      <a:cubicBezTo>
                        <a:pt x="293" y="212"/>
                        <a:pt x="301" y="194"/>
                        <a:pt x="319" y="176"/>
                      </a:cubicBezTo>
                      <a:cubicBezTo>
                        <a:pt x="328" y="168"/>
                        <a:pt x="346" y="168"/>
                        <a:pt x="363" y="176"/>
                      </a:cubicBezTo>
                      <a:cubicBezTo>
                        <a:pt x="355" y="185"/>
                        <a:pt x="355" y="185"/>
                        <a:pt x="355" y="185"/>
                      </a:cubicBezTo>
                      <a:cubicBezTo>
                        <a:pt x="346" y="185"/>
                        <a:pt x="337" y="194"/>
                        <a:pt x="346" y="203"/>
                      </a:cubicBezTo>
                      <a:cubicBezTo>
                        <a:pt x="346" y="212"/>
                        <a:pt x="355" y="212"/>
                        <a:pt x="355" y="212"/>
                      </a:cubicBezTo>
                      <a:cubicBezTo>
                        <a:pt x="363" y="212"/>
                        <a:pt x="363" y="212"/>
                        <a:pt x="363" y="212"/>
                      </a:cubicBezTo>
                      <a:cubicBezTo>
                        <a:pt x="372" y="212"/>
                        <a:pt x="372" y="212"/>
                        <a:pt x="381" y="203"/>
                      </a:cubicBezTo>
                      <a:cubicBezTo>
                        <a:pt x="381" y="221"/>
                        <a:pt x="372" y="238"/>
                        <a:pt x="363" y="24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C4EBA3A8-DA82-4FEC-B47F-E53C35DD4F6E}"/>
                  </a:ext>
                </a:extLst>
              </p:cNvPr>
              <p:cNvGrpSpPr/>
              <p:nvPr/>
            </p:nvGrpSpPr>
            <p:grpSpPr>
              <a:xfrm>
                <a:off x="3976962" y="3407642"/>
                <a:ext cx="2492785" cy="1131157"/>
                <a:chOff x="3907273" y="3506073"/>
                <a:chExt cx="2492785" cy="1131157"/>
              </a:xfrm>
            </p:grpSpPr>
            <p:grpSp>
              <p:nvGrpSpPr>
                <p:cNvPr id="10" name="Group 9">
                  <a:extLst>
                    <a:ext uri="{FF2B5EF4-FFF2-40B4-BE49-F238E27FC236}">
                      <a16:creationId xmlns:a16="http://schemas.microsoft.com/office/drawing/2014/main" id="{F921A31C-93AF-4EAA-86C3-79E81A11407C}"/>
                    </a:ext>
                  </a:extLst>
                </p:cNvPr>
                <p:cNvGrpSpPr/>
                <p:nvPr/>
              </p:nvGrpSpPr>
              <p:grpSpPr>
                <a:xfrm>
                  <a:off x="3994904" y="3506073"/>
                  <a:ext cx="2366225" cy="1131157"/>
                  <a:chOff x="687840" y="610040"/>
                  <a:chExt cx="2918959" cy="1274939"/>
                </a:xfrm>
                <a:gradFill>
                  <a:gsLst>
                    <a:gs pos="17000">
                      <a:schemeClr val="accent1"/>
                    </a:gs>
                    <a:gs pos="100000">
                      <a:schemeClr val="accent5"/>
                    </a:gs>
                  </a:gsLst>
                  <a:lin ang="2700000" scaled="1"/>
                </a:gradFill>
              </p:grpSpPr>
              <p:sp>
                <p:nvSpPr>
                  <p:cNvPr id="19" name="Rounded Rectangle 59">
                    <a:extLst>
                      <a:ext uri="{FF2B5EF4-FFF2-40B4-BE49-F238E27FC236}">
                        <a16:creationId xmlns:a16="http://schemas.microsoft.com/office/drawing/2014/main" id="{260C0067-0E34-4A2E-972C-88BA8350CC88}"/>
                      </a:ext>
                    </a:extLst>
                  </p:cNvPr>
                  <p:cNvSpPr/>
                  <p:nvPr/>
                </p:nvSpPr>
                <p:spPr>
                  <a:xfrm>
                    <a:off x="687840" y="610040"/>
                    <a:ext cx="2918959" cy="1274939"/>
                  </a:xfrm>
                  <a:prstGeom prst="roundRect">
                    <a:avLst>
                      <a:gd name="adj" fmla="val 11161"/>
                    </a:avLst>
                  </a:prstGeom>
                  <a:gradFill flip="none" rotWithShape="1">
                    <a:gsLst>
                      <a:gs pos="0">
                        <a:schemeClr val="accent2"/>
                      </a:gs>
                      <a:gs pos="100000">
                        <a:schemeClr val="accent2">
                          <a:lumMod val="75000"/>
                        </a:schemeClr>
                      </a:gs>
                    </a:gsLst>
                    <a:lin ang="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20" name="Round Same Side Corner Rectangle 65">
                    <a:extLst>
                      <a:ext uri="{FF2B5EF4-FFF2-40B4-BE49-F238E27FC236}">
                        <a16:creationId xmlns:a16="http://schemas.microsoft.com/office/drawing/2014/main" id="{AB7E77F3-6522-4710-88F3-08625CA7856E}"/>
                      </a:ext>
                    </a:extLst>
                  </p:cNvPr>
                  <p:cNvSpPr/>
                  <p:nvPr/>
                </p:nvSpPr>
                <p:spPr>
                  <a:xfrm flipV="1">
                    <a:off x="689910" y="1358642"/>
                    <a:ext cx="2913508" cy="526337"/>
                  </a:xfrm>
                  <a:prstGeom prst="round2SameRect">
                    <a:avLst>
                      <a:gd name="adj1" fmla="val 28070"/>
                      <a:gd name="adj2" fmla="val 0"/>
                    </a:avLst>
                  </a:prstGeom>
                  <a:solidFill>
                    <a:schemeClr val="tx1">
                      <a:alpha val="15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11" name="Group 10">
                  <a:extLst>
                    <a:ext uri="{FF2B5EF4-FFF2-40B4-BE49-F238E27FC236}">
                      <a16:creationId xmlns:a16="http://schemas.microsoft.com/office/drawing/2014/main" id="{7198E278-6E89-4347-A06F-5A5CB7D25C36}"/>
                    </a:ext>
                  </a:extLst>
                </p:cNvPr>
                <p:cNvGrpSpPr/>
                <p:nvPr/>
              </p:nvGrpSpPr>
              <p:grpSpPr>
                <a:xfrm>
                  <a:off x="4137488" y="3606687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17" name="Freeform: Shape 16">
                    <a:extLst>
                      <a:ext uri="{FF2B5EF4-FFF2-40B4-BE49-F238E27FC236}">
                        <a16:creationId xmlns:a16="http://schemas.microsoft.com/office/drawing/2014/main" id="{DB1CEC54-4306-434B-8DAD-289B7744D60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8" name="Freeform 5">
                    <a:extLst>
                      <a:ext uri="{FF2B5EF4-FFF2-40B4-BE49-F238E27FC236}">
                        <a16:creationId xmlns:a16="http://schemas.microsoft.com/office/drawing/2014/main" id="{27FCFC97-3E6A-4E7A-9BC2-8AED21AE5D3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0E3ED834-9DCE-436F-89E3-79DF4C5FE576}"/>
                    </a:ext>
                  </a:extLst>
                </p:cNvPr>
                <p:cNvSpPr/>
                <p:nvPr/>
              </p:nvSpPr>
              <p:spPr>
                <a:xfrm>
                  <a:off x="3907273" y="4225978"/>
                  <a:ext cx="2492785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E34D56B3-65EF-4FF6-958B-F6A1418C04FD}"/>
                    </a:ext>
                  </a:extLst>
                </p:cNvPr>
                <p:cNvSpPr txBox="1"/>
                <p:nvPr/>
              </p:nvSpPr>
              <p:spPr>
                <a:xfrm>
                  <a:off x="5689256" y="3564545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80%</a:t>
                  </a: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3F455E81-4EA4-43F7-9A00-C7558ECB13C5}"/>
                    </a:ext>
                  </a:extLst>
                </p:cNvPr>
                <p:cNvSpPr/>
                <p:nvPr/>
              </p:nvSpPr>
              <p:spPr>
                <a:xfrm>
                  <a:off x="5040514" y="3806998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14" name="Freeform 24">
                  <a:extLst>
                    <a:ext uri="{FF2B5EF4-FFF2-40B4-BE49-F238E27FC236}">
                      <a16:creationId xmlns:a16="http://schemas.microsoft.com/office/drawing/2014/main" id="{B231E73B-9057-475C-8153-DDF9D0B642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65429" y="3761316"/>
                  <a:ext cx="178874" cy="142084"/>
                </a:xfrm>
                <a:custGeom>
                  <a:avLst/>
                  <a:gdLst>
                    <a:gd name="T0" fmla="*/ 111694 w 497"/>
                    <a:gd name="T1" fmla="*/ 66842 h 399"/>
                    <a:gd name="T2" fmla="*/ 111694 w 497"/>
                    <a:gd name="T3" fmla="*/ 66842 h 399"/>
                    <a:gd name="T4" fmla="*/ 79717 w 497"/>
                    <a:gd name="T5" fmla="*/ 98481 h 399"/>
                    <a:gd name="T6" fmla="*/ 111694 w 497"/>
                    <a:gd name="T7" fmla="*/ 130119 h 399"/>
                    <a:gd name="T8" fmla="*/ 143671 w 497"/>
                    <a:gd name="T9" fmla="*/ 98481 h 399"/>
                    <a:gd name="T10" fmla="*/ 111694 w 497"/>
                    <a:gd name="T11" fmla="*/ 66842 h 399"/>
                    <a:gd name="T12" fmla="*/ 199067 w 497"/>
                    <a:gd name="T13" fmla="*/ 31193 h 399"/>
                    <a:gd name="T14" fmla="*/ 199067 w 497"/>
                    <a:gd name="T15" fmla="*/ 31193 h 399"/>
                    <a:gd name="T16" fmla="*/ 175197 w 497"/>
                    <a:gd name="T17" fmla="*/ 31193 h 399"/>
                    <a:gd name="T18" fmla="*/ 163487 w 497"/>
                    <a:gd name="T19" fmla="*/ 27182 h 399"/>
                    <a:gd name="T20" fmla="*/ 159434 w 497"/>
                    <a:gd name="T21" fmla="*/ 3565 h 399"/>
                    <a:gd name="T22" fmla="*/ 147274 w 497"/>
                    <a:gd name="T23" fmla="*/ 0 h 399"/>
                    <a:gd name="T24" fmla="*/ 71610 w 497"/>
                    <a:gd name="T25" fmla="*/ 0 h 399"/>
                    <a:gd name="T26" fmla="*/ 63954 w 497"/>
                    <a:gd name="T27" fmla="*/ 3565 h 399"/>
                    <a:gd name="T28" fmla="*/ 55397 w 497"/>
                    <a:gd name="T29" fmla="*/ 27182 h 399"/>
                    <a:gd name="T30" fmla="*/ 47740 w 497"/>
                    <a:gd name="T31" fmla="*/ 31193 h 399"/>
                    <a:gd name="T32" fmla="*/ 23870 w 497"/>
                    <a:gd name="T33" fmla="*/ 31193 h 399"/>
                    <a:gd name="T34" fmla="*/ 0 w 497"/>
                    <a:gd name="T35" fmla="*/ 54811 h 399"/>
                    <a:gd name="T36" fmla="*/ 0 w 497"/>
                    <a:gd name="T37" fmla="*/ 153737 h 399"/>
                    <a:gd name="T38" fmla="*/ 23870 w 497"/>
                    <a:gd name="T39" fmla="*/ 177354 h 399"/>
                    <a:gd name="T40" fmla="*/ 199067 w 497"/>
                    <a:gd name="T41" fmla="*/ 177354 h 399"/>
                    <a:gd name="T42" fmla="*/ 223388 w 497"/>
                    <a:gd name="T43" fmla="*/ 153737 h 399"/>
                    <a:gd name="T44" fmla="*/ 223388 w 497"/>
                    <a:gd name="T45" fmla="*/ 54811 h 399"/>
                    <a:gd name="T46" fmla="*/ 199067 w 497"/>
                    <a:gd name="T47" fmla="*/ 31193 h 399"/>
                    <a:gd name="T48" fmla="*/ 111694 w 497"/>
                    <a:gd name="T49" fmla="*/ 153737 h 399"/>
                    <a:gd name="T50" fmla="*/ 111694 w 497"/>
                    <a:gd name="T51" fmla="*/ 153737 h 399"/>
                    <a:gd name="T52" fmla="*/ 55397 w 497"/>
                    <a:gd name="T53" fmla="*/ 98481 h 399"/>
                    <a:gd name="T54" fmla="*/ 111694 w 497"/>
                    <a:gd name="T55" fmla="*/ 43225 h 399"/>
                    <a:gd name="T56" fmla="*/ 167541 w 497"/>
                    <a:gd name="T57" fmla="*/ 98481 h 399"/>
                    <a:gd name="T58" fmla="*/ 111694 w 497"/>
                    <a:gd name="T59" fmla="*/ 153737 h 399"/>
                    <a:gd name="T60" fmla="*/ 191411 w 497"/>
                    <a:gd name="T61" fmla="*/ 70853 h 399"/>
                    <a:gd name="T62" fmla="*/ 191411 w 497"/>
                    <a:gd name="T63" fmla="*/ 70853 h 399"/>
                    <a:gd name="T64" fmla="*/ 183304 w 497"/>
                    <a:gd name="T65" fmla="*/ 62832 h 399"/>
                    <a:gd name="T66" fmla="*/ 191411 w 497"/>
                    <a:gd name="T67" fmla="*/ 54811 h 399"/>
                    <a:gd name="T68" fmla="*/ 199067 w 497"/>
                    <a:gd name="T69" fmla="*/ 62832 h 399"/>
                    <a:gd name="T70" fmla="*/ 191411 w 497"/>
                    <a:gd name="T71" fmla="*/ 70853 h 399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497" h="399">
                      <a:moveTo>
                        <a:pt x="248" y="150"/>
                      </a:moveTo>
                      <a:lnTo>
                        <a:pt x="248" y="150"/>
                      </a:lnTo>
                      <a:cubicBezTo>
                        <a:pt x="203" y="150"/>
                        <a:pt x="177" y="176"/>
                        <a:pt x="177" y="221"/>
                      </a:cubicBezTo>
                      <a:cubicBezTo>
                        <a:pt x="177" y="266"/>
                        <a:pt x="203" y="292"/>
                        <a:pt x="248" y="292"/>
                      </a:cubicBezTo>
                      <a:cubicBezTo>
                        <a:pt x="292" y="292"/>
                        <a:pt x="319" y="266"/>
                        <a:pt x="319" y="221"/>
                      </a:cubicBezTo>
                      <a:cubicBezTo>
                        <a:pt x="319" y="176"/>
                        <a:pt x="292" y="150"/>
                        <a:pt x="248" y="150"/>
                      </a:cubicBezTo>
                      <a:close/>
                      <a:moveTo>
                        <a:pt x="442" y="70"/>
                      </a:moveTo>
                      <a:lnTo>
                        <a:pt x="442" y="70"/>
                      </a:lnTo>
                      <a:cubicBezTo>
                        <a:pt x="389" y="70"/>
                        <a:pt x="389" y="70"/>
                        <a:pt x="389" y="70"/>
                      </a:cubicBezTo>
                      <a:cubicBezTo>
                        <a:pt x="380" y="70"/>
                        <a:pt x="372" y="70"/>
                        <a:pt x="363" y="61"/>
                      </a:cubicBezTo>
                      <a:cubicBezTo>
                        <a:pt x="354" y="8"/>
                        <a:pt x="354" y="8"/>
                        <a:pt x="354" y="8"/>
                      </a:cubicBezTo>
                      <a:cubicBezTo>
                        <a:pt x="345" y="8"/>
                        <a:pt x="336" y="0"/>
                        <a:pt x="327" y="0"/>
                      </a:cubicBezTo>
                      <a:cubicBezTo>
                        <a:pt x="159" y="0"/>
                        <a:pt x="159" y="0"/>
                        <a:pt x="159" y="0"/>
                      </a:cubicBezTo>
                      <a:cubicBezTo>
                        <a:pt x="159" y="0"/>
                        <a:pt x="150" y="8"/>
                        <a:pt x="142" y="8"/>
                      </a:cubicBezTo>
                      <a:cubicBezTo>
                        <a:pt x="123" y="61"/>
                        <a:pt x="123" y="61"/>
                        <a:pt x="123" y="61"/>
                      </a:cubicBezTo>
                      <a:cubicBezTo>
                        <a:pt x="123" y="70"/>
                        <a:pt x="115" y="70"/>
                        <a:pt x="106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17" y="70"/>
                        <a:pt x="0" y="97"/>
                        <a:pt x="0" y="123"/>
                      </a:cubicBezTo>
                      <a:cubicBezTo>
                        <a:pt x="0" y="345"/>
                        <a:pt x="0" y="345"/>
                        <a:pt x="0" y="345"/>
                      </a:cubicBezTo>
                      <a:cubicBezTo>
                        <a:pt x="0" y="372"/>
                        <a:pt x="17" y="398"/>
                        <a:pt x="53" y="398"/>
                      </a:cubicBezTo>
                      <a:cubicBezTo>
                        <a:pt x="442" y="398"/>
                        <a:pt x="442" y="398"/>
                        <a:pt x="442" y="398"/>
                      </a:cubicBezTo>
                      <a:cubicBezTo>
                        <a:pt x="470" y="398"/>
                        <a:pt x="496" y="372"/>
                        <a:pt x="496" y="345"/>
                      </a:cubicBezTo>
                      <a:cubicBezTo>
                        <a:pt x="496" y="123"/>
                        <a:pt x="496" y="123"/>
                        <a:pt x="496" y="123"/>
                      </a:cubicBezTo>
                      <a:cubicBezTo>
                        <a:pt x="496" y="97"/>
                        <a:pt x="470" y="70"/>
                        <a:pt x="442" y="70"/>
                      </a:cubicBezTo>
                      <a:close/>
                      <a:moveTo>
                        <a:pt x="248" y="345"/>
                      </a:moveTo>
                      <a:lnTo>
                        <a:pt x="248" y="345"/>
                      </a:lnTo>
                      <a:cubicBezTo>
                        <a:pt x="177" y="345"/>
                        <a:pt x="123" y="292"/>
                        <a:pt x="123" y="221"/>
                      </a:cubicBezTo>
                      <a:cubicBezTo>
                        <a:pt x="123" y="150"/>
                        <a:pt x="177" y="97"/>
                        <a:pt x="248" y="97"/>
                      </a:cubicBezTo>
                      <a:cubicBezTo>
                        <a:pt x="319" y="97"/>
                        <a:pt x="372" y="150"/>
                        <a:pt x="372" y="221"/>
                      </a:cubicBezTo>
                      <a:cubicBezTo>
                        <a:pt x="372" y="292"/>
                        <a:pt x="319" y="345"/>
                        <a:pt x="248" y="345"/>
                      </a:cubicBezTo>
                      <a:close/>
                      <a:moveTo>
                        <a:pt x="425" y="159"/>
                      </a:moveTo>
                      <a:lnTo>
                        <a:pt x="425" y="159"/>
                      </a:lnTo>
                      <a:cubicBezTo>
                        <a:pt x="416" y="159"/>
                        <a:pt x="407" y="150"/>
                        <a:pt x="407" y="141"/>
                      </a:cubicBezTo>
                      <a:cubicBezTo>
                        <a:pt x="407" y="132"/>
                        <a:pt x="416" y="123"/>
                        <a:pt x="425" y="123"/>
                      </a:cubicBezTo>
                      <a:cubicBezTo>
                        <a:pt x="433" y="123"/>
                        <a:pt x="442" y="132"/>
                        <a:pt x="442" y="141"/>
                      </a:cubicBezTo>
                      <a:cubicBezTo>
                        <a:pt x="442" y="150"/>
                        <a:pt x="433" y="159"/>
                        <a:pt x="425" y="159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6EE1FAC6-D0D9-410F-81F2-A21A29B5DB5E}"/>
                  </a:ext>
                </a:extLst>
              </p:cNvPr>
              <p:cNvGrpSpPr/>
              <p:nvPr/>
            </p:nvGrpSpPr>
            <p:grpSpPr>
              <a:xfrm>
                <a:off x="5272473" y="2076809"/>
                <a:ext cx="2492785" cy="1131157"/>
                <a:chOff x="5227888" y="2110290"/>
                <a:chExt cx="2492785" cy="1131157"/>
              </a:xfrm>
            </p:grpSpPr>
            <p:grpSp>
              <p:nvGrpSpPr>
                <p:cNvPr id="45" name="Group 44">
                  <a:extLst>
                    <a:ext uri="{FF2B5EF4-FFF2-40B4-BE49-F238E27FC236}">
                      <a16:creationId xmlns:a16="http://schemas.microsoft.com/office/drawing/2014/main" id="{620BEA7A-BE85-49DD-9CE3-C0CB30F1A586}"/>
                    </a:ext>
                  </a:extLst>
                </p:cNvPr>
                <p:cNvGrpSpPr/>
                <p:nvPr/>
              </p:nvGrpSpPr>
              <p:grpSpPr>
                <a:xfrm>
                  <a:off x="5315519" y="2110290"/>
                  <a:ext cx="2366225" cy="1131157"/>
                  <a:chOff x="687840" y="610040"/>
                  <a:chExt cx="2918959" cy="1274939"/>
                </a:xfrm>
                <a:gradFill>
                  <a:gsLst>
                    <a:gs pos="17000">
                      <a:schemeClr val="accent1"/>
                    </a:gs>
                    <a:gs pos="100000">
                      <a:schemeClr val="accent5"/>
                    </a:gs>
                  </a:gsLst>
                  <a:lin ang="2700000" scaled="1"/>
                </a:gradFill>
              </p:grpSpPr>
              <p:sp>
                <p:nvSpPr>
                  <p:cNvPr id="54" name="Rounded Rectangle 59">
                    <a:extLst>
                      <a:ext uri="{FF2B5EF4-FFF2-40B4-BE49-F238E27FC236}">
                        <a16:creationId xmlns:a16="http://schemas.microsoft.com/office/drawing/2014/main" id="{E8C83F51-8D1C-4882-A4C4-1C785A224B60}"/>
                      </a:ext>
                    </a:extLst>
                  </p:cNvPr>
                  <p:cNvSpPr/>
                  <p:nvPr/>
                </p:nvSpPr>
                <p:spPr>
                  <a:xfrm>
                    <a:off x="687840" y="610040"/>
                    <a:ext cx="2918959" cy="1274939"/>
                  </a:xfrm>
                  <a:prstGeom prst="roundRect">
                    <a:avLst>
                      <a:gd name="adj" fmla="val 11161"/>
                    </a:avLst>
                  </a:prstGeom>
                  <a:gradFill flip="none" rotWithShape="1">
                    <a:gsLst>
                      <a:gs pos="0">
                        <a:schemeClr val="accent3"/>
                      </a:gs>
                      <a:gs pos="100000">
                        <a:schemeClr val="accent3">
                          <a:lumMod val="75000"/>
                        </a:schemeClr>
                      </a:gs>
                    </a:gsLst>
                    <a:lin ang="0" scaled="1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55" name="Round Same Side Corner Rectangle 65">
                    <a:extLst>
                      <a:ext uri="{FF2B5EF4-FFF2-40B4-BE49-F238E27FC236}">
                        <a16:creationId xmlns:a16="http://schemas.microsoft.com/office/drawing/2014/main" id="{41A26D36-C3C9-403A-BC03-7AD5BE212E91}"/>
                      </a:ext>
                    </a:extLst>
                  </p:cNvPr>
                  <p:cNvSpPr/>
                  <p:nvPr/>
                </p:nvSpPr>
                <p:spPr>
                  <a:xfrm flipV="1">
                    <a:off x="689910" y="1358642"/>
                    <a:ext cx="2913508" cy="526337"/>
                  </a:xfrm>
                  <a:prstGeom prst="round2SameRect">
                    <a:avLst>
                      <a:gd name="adj1" fmla="val 28070"/>
                      <a:gd name="adj2" fmla="val 0"/>
                    </a:avLst>
                  </a:prstGeom>
                  <a:solidFill>
                    <a:schemeClr val="tx1">
                      <a:alpha val="15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75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1B868E8C-6008-4868-8209-4F24286BA2EE}"/>
                    </a:ext>
                  </a:extLst>
                </p:cNvPr>
                <p:cNvGrpSpPr/>
                <p:nvPr/>
              </p:nvGrpSpPr>
              <p:grpSpPr>
                <a:xfrm>
                  <a:off x="5458103" y="2210904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40E451D-18DA-4551-A9AE-C6A4B0E140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53" name="Freeform 5">
                    <a:extLst>
                      <a:ext uri="{FF2B5EF4-FFF2-40B4-BE49-F238E27FC236}">
                        <a16:creationId xmlns:a16="http://schemas.microsoft.com/office/drawing/2014/main" id="{C5CFDF47-5198-45A9-B1B4-4CF4A94117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CEFF9AE2-8435-4764-9B30-1DA56FD0C1AB}"/>
                    </a:ext>
                  </a:extLst>
                </p:cNvPr>
                <p:cNvSpPr/>
                <p:nvPr/>
              </p:nvSpPr>
              <p:spPr>
                <a:xfrm>
                  <a:off x="5227888" y="2830195"/>
                  <a:ext cx="2492785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8B1BDB9F-52B8-4812-AA91-A85FA4638537}"/>
                    </a:ext>
                  </a:extLst>
                </p:cNvPr>
                <p:cNvSpPr txBox="1"/>
                <p:nvPr/>
              </p:nvSpPr>
              <p:spPr>
                <a:xfrm>
                  <a:off x="7009871" y="2168762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77%</a:t>
                  </a: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11B46930-5EC8-4D23-868D-AD11CCF174BE}"/>
                    </a:ext>
                  </a:extLst>
                </p:cNvPr>
                <p:cNvSpPr/>
                <p:nvPr/>
              </p:nvSpPr>
              <p:spPr>
                <a:xfrm>
                  <a:off x="6361129" y="2411215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9" name="Freeform 47">
                  <a:extLst>
                    <a:ext uri="{FF2B5EF4-FFF2-40B4-BE49-F238E27FC236}">
                      <a16:creationId xmlns:a16="http://schemas.microsoft.com/office/drawing/2014/main" id="{85B3EC3C-9D2C-4DEB-94A1-C607F173C8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89998" y="2363140"/>
                  <a:ext cx="187535" cy="164762"/>
                </a:xfrm>
                <a:custGeom>
                  <a:avLst/>
                  <a:gdLst>
                    <a:gd name="T0" fmla="*/ 221804 w 498"/>
                    <a:gd name="T1" fmla="*/ 194813 h 435"/>
                    <a:gd name="T2" fmla="*/ 221804 w 498"/>
                    <a:gd name="T3" fmla="*/ 194813 h 435"/>
                    <a:gd name="T4" fmla="*/ 217341 w 498"/>
                    <a:gd name="T5" fmla="*/ 147232 h 435"/>
                    <a:gd name="T6" fmla="*/ 189671 w 498"/>
                    <a:gd name="T7" fmla="*/ 131521 h 435"/>
                    <a:gd name="T8" fmla="*/ 166018 w 498"/>
                    <a:gd name="T9" fmla="*/ 103691 h 435"/>
                    <a:gd name="T10" fmla="*/ 174051 w 498"/>
                    <a:gd name="T11" fmla="*/ 87980 h 435"/>
                    <a:gd name="T12" fmla="*/ 182084 w 498"/>
                    <a:gd name="T13" fmla="*/ 71372 h 435"/>
                    <a:gd name="T14" fmla="*/ 178068 w 498"/>
                    <a:gd name="T15" fmla="*/ 67781 h 435"/>
                    <a:gd name="T16" fmla="*/ 182084 w 498"/>
                    <a:gd name="T17" fmla="*/ 51621 h 435"/>
                    <a:gd name="T18" fmla="*/ 154415 w 498"/>
                    <a:gd name="T19" fmla="*/ 27830 h 435"/>
                    <a:gd name="T20" fmla="*/ 126745 w 498"/>
                    <a:gd name="T21" fmla="*/ 51621 h 435"/>
                    <a:gd name="T22" fmla="*/ 130762 w 498"/>
                    <a:gd name="T23" fmla="*/ 67781 h 435"/>
                    <a:gd name="T24" fmla="*/ 126745 w 498"/>
                    <a:gd name="T25" fmla="*/ 71372 h 435"/>
                    <a:gd name="T26" fmla="*/ 134778 w 498"/>
                    <a:gd name="T27" fmla="*/ 87980 h 435"/>
                    <a:gd name="T28" fmla="*/ 138795 w 498"/>
                    <a:gd name="T29" fmla="*/ 103691 h 435"/>
                    <a:gd name="T30" fmla="*/ 130762 w 498"/>
                    <a:gd name="T31" fmla="*/ 123441 h 435"/>
                    <a:gd name="T32" fmla="*/ 170035 w 498"/>
                    <a:gd name="T33" fmla="*/ 163392 h 435"/>
                    <a:gd name="T34" fmla="*/ 170035 w 498"/>
                    <a:gd name="T35" fmla="*/ 194813 h 435"/>
                    <a:gd name="T36" fmla="*/ 221804 w 498"/>
                    <a:gd name="T37" fmla="*/ 194813 h 435"/>
                    <a:gd name="T38" fmla="*/ 115142 w 498"/>
                    <a:gd name="T39" fmla="*/ 135561 h 435"/>
                    <a:gd name="T40" fmla="*/ 115142 w 498"/>
                    <a:gd name="T41" fmla="*/ 135561 h 435"/>
                    <a:gd name="T42" fmla="*/ 83455 w 498"/>
                    <a:gd name="T43" fmla="*/ 103691 h 435"/>
                    <a:gd name="T44" fmla="*/ 95059 w 498"/>
                    <a:gd name="T45" fmla="*/ 75412 h 435"/>
                    <a:gd name="T46" fmla="*/ 103092 w 498"/>
                    <a:gd name="T47" fmla="*/ 59701 h 435"/>
                    <a:gd name="T48" fmla="*/ 99075 w 498"/>
                    <a:gd name="T49" fmla="*/ 51621 h 435"/>
                    <a:gd name="T50" fmla="*/ 103092 w 498"/>
                    <a:gd name="T51" fmla="*/ 31870 h 435"/>
                    <a:gd name="T52" fmla="*/ 67389 w 498"/>
                    <a:gd name="T53" fmla="*/ 0 h 435"/>
                    <a:gd name="T54" fmla="*/ 31686 w 498"/>
                    <a:gd name="T55" fmla="*/ 31870 h 435"/>
                    <a:gd name="T56" fmla="*/ 31686 w 498"/>
                    <a:gd name="T57" fmla="*/ 51621 h 435"/>
                    <a:gd name="T58" fmla="*/ 31686 w 498"/>
                    <a:gd name="T59" fmla="*/ 59701 h 435"/>
                    <a:gd name="T60" fmla="*/ 39719 w 498"/>
                    <a:gd name="T61" fmla="*/ 75412 h 435"/>
                    <a:gd name="T62" fmla="*/ 47753 w 498"/>
                    <a:gd name="T63" fmla="*/ 103691 h 435"/>
                    <a:gd name="T64" fmla="*/ 20083 w 498"/>
                    <a:gd name="T65" fmla="*/ 135561 h 435"/>
                    <a:gd name="T66" fmla="*/ 0 w 498"/>
                    <a:gd name="T67" fmla="*/ 155312 h 435"/>
                    <a:gd name="T68" fmla="*/ 0 w 498"/>
                    <a:gd name="T69" fmla="*/ 194813 h 435"/>
                    <a:gd name="T70" fmla="*/ 154415 w 498"/>
                    <a:gd name="T71" fmla="*/ 194813 h 435"/>
                    <a:gd name="T72" fmla="*/ 154415 w 498"/>
                    <a:gd name="T73" fmla="*/ 163392 h 435"/>
                    <a:gd name="T74" fmla="*/ 115142 w 498"/>
                    <a:gd name="T75" fmla="*/ 135561 h 435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498" h="435">
                      <a:moveTo>
                        <a:pt x="497" y="434"/>
                      </a:moveTo>
                      <a:lnTo>
                        <a:pt x="497" y="434"/>
                      </a:lnTo>
                      <a:cubicBezTo>
                        <a:pt x="497" y="434"/>
                        <a:pt x="497" y="337"/>
                        <a:pt x="487" y="328"/>
                      </a:cubicBezTo>
                      <a:cubicBezTo>
                        <a:pt x="479" y="319"/>
                        <a:pt x="462" y="302"/>
                        <a:pt x="425" y="293"/>
                      </a:cubicBezTo>
                      <a:cubicBezTo>
                        <a:pt x="390" y="275"/>
                        <a:pt x="372" y="257"/>
                        <a:pt x="372" y="231"/>
                      </a:cubicBezTo>
                      <a:cubicBezTo>
                        <a:pt x="372" y="213"/>
                        <a:pt x="390" y="222"/>
                        <a:pt x="390" y="196"/>
                      </a:cubicBezTo>
                      <a:cubicBezTo>
                        <a:pt x="390" y="178"/>
                        <a:pt x="408" y="196"/>
                        <a:pt x="408" y="159"/>
                      </a:cubicBezTo>
                      <a:cubicBezTo>
                        <a:pt x="408" y="151"/>
                        <a:pt x="399" y="151"/>
                        <a:pt x="399" y="151"/>
                      </a:cubicBezTo>
                      <a:cubicBezTo>
                        <a:pt x="399" y="151"/>
                        <a:pt x="408" y="133"/>
                        <a:pt x="408" y="115"/>
                      </a:cubicBezTo>
                      <a:cubicBezTo>
                        <a:pt x="408" y="98"/>
                        <a:pt x="399" y="62"/>
                        <a:pt x="346" y="62"/>
                      </a:cubicBezTo>
                      <a:cubicBezTo>
                        <a:pt x="293" y="62"/>
                        <a:pt x="284" y="98"/>
                        <a:pt x="284" y="115"/>
                      </a:cubicBezTo>
                      <a:cubicBezTo>
                        <a:pt x="284" y="133"/>
                        <a:pt x="293" y="151"/>
                        <a:pt x="293" y="151"/>
                      </a:cubicBezTo>
                      <a:cubicBezTo>
                        <a:pt x="293" y="151"/>
                        <a:pt x="284" y="151"/>
                        <a:pt x="284" y="159"/>
                      </a:cubicBezTo>
                      <a:cubicBezTo>
                        <a:pt x="284" y="196"/>
                        <a:pt x="293" y="178"/>
                        <a:pt x="302" y="196"/>
                      </a:cubicBezTo>
                      <a:cubicBezTo>
                        <a:pt x="302" y="222"/>
                        <a:pt x="311" y="213"/>
                        <a:pt x="311" y="231"/>
                      </a:cubicBezTo>
                      <a:cubicBezTo>
                        <a:pt x="311" y="249"/>
                        <a:pt x="311" y="266"/>
                        <a:pt x="293" y="275"/>
                      </a:cubicBezTo>
                      <a:cubicBezTo>
                        <a:pt x="372" y="319"/>
                        <a:pt x="381" y="319"/>
                        <a:pt x="381" y="364"/>
                      </a:cubicBezTo>
                      <a:cubicBezTo>
                        <a:pt x="381" y="434"/>
                        <a:pt x="381" y="434"/>
                        <a:pt x="381" y="434"/>
                      </a:cubicBezTo>
                      <a:lnTo>
                        <a:pt x="497" y="434"/>
                      </a:lnTo>
                      <a:close/>
                      <a:moveTo>
                        <a:pt x="258" y="302"/>
                      </a:moveTo>
                      <a:lnTo>
                        <a:pt x="258" y="302"/>
                      </a:lnTo>
                      <a:cubicBezTo>
                        <a:pt x="204" y="284"/>
                        <a:pt x="187" y="266"/>
                        <a:pt x="187" y="231"/>
                      </a:cubicBezTo>
                      <a:cubicBezTo>
                        <a:pt x="187" y="204"/>
                        <a:pt x="204" y="213"/>
                        <a:pt x="213" y="168"/>
                      </a:cubicBezTo>
                      <a:cubicBezTo>
                        <a:pt x="213" y="159"/>
                        <a:pt x="231" y="168"/>
                        <a:pt x="231" y="133"/>
                      </a:cubicBezTo>
                      <a:cubicBezTo>
                        <a:pt x="231" y="115"/>
                        <a:pt x="222" y="115"/>
                        <a:pt x="222" y="115"/>
                      </a:cubicBezTo>
                      <a:cubicBezTo>
                        <a:pt x="222" y="115"/>
                        <a:pt x="222" y="89"/>
                        <a:pt x="231" y="71"/>
                      </a:cubicBezTo>
                      <a:cubicBezTo>
                        <a:pt x="231" y="53"/>
                        <a:pt x="213" y="0"/>
                        <a:pt x="151" y="0"/>
                      </a:cubicBezTo>
                      <a:cubicBezTo>
                        <a:pt x="80" y="0"/>
                        <a:pt x="71" y="53"/>
                        <a:pt x="71" y="71"/>
                      </a:cubicBezTo>
                      <a:cubicBezTo>
                        <a:pt x="71" y="89"/>
                        <a:pt x="71" y="115"/>
                        <a:pt x="71" y="115"/>
                      </a:cubicBezTo>
                      <a:cubicBezTo>
                        <a:pt x="71" y="115"/>
                        <a:pt x="71" y="115"/>
                        <a:pt x="71" y="133"/>
                      </a:cubicBezTo>
                      <a:cubicBezTo>
                        <a:pt x="71" y="168"/>
                        <a:pt x="80" y="159"/>
                        <a:pt x="89" y="168"/>
                      </a:cubicBezTo>
                      <a:cubicBezTo>
                        <a:pt x="89" y="213"/>
                        <a:pt x="107" y="204"/>
                        <a:pt x="107" y="231"/>
                      </a:cubicBezTo>
                      <a:cubicBezTo>
                        <a:pt x="107" y="266"/>
                        <a:pt x="89" y="284"/>
                        <a:pt x="45" y="302"/>
                      </a:cubicBezTo>
                      <a:cubicBezTo>
                        <a:pt x="27" y="310"/>
                        <a:pt x="0" y="319"/>
                        <a:pt x="0" y="346"/>
                      </a:cubicBezTo>
                      <a:cubicBezTo>
                        <a:pt x="0" y="434"/>
                        <a:pt x="0" y="434"/>
                        <a:pt x="0" y="434"/>
                      </a:cubicBezTo>
                      <a:cubicBezTo>
                        <a:pt x="346" y="434"/>
                        <a:pt x="346" y="434"/>
                        <a:pt x="346" y="434"/>
                      </a:cubicBezTo>
                      <a:cubicBezTo>
                        <a:pt x="346" y="434"/>
                        <a:pt x="346" y="381"/>
                        <a:pt x="346" y="364"/>
                      </a:cubicBezTo>
                      <a:cubicBezTo>
                        <a:pt x="346" y="346"/>
                        <a:pt x="302" y="328"/>
                        <a:pt x="258" y="30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7" name="Group 66">
                <a:extLst>
                  <a:ext uri="{FF2B5EF4-FFF2-40B4-BE49-F238E27FC236}">
                    <a16:creationId xmlns:a16="http://schemas.microsoft.com/office/drawing/2014/main" id="{C0CF1C63-D952-41AE-A85F-373BC8588DB2}"/>
                  </a:ext>
                </a:extLst>
              </p:cNvPr>
              <p:cNvGrpSpPr/>
              <p:nvPr/>
            </p:nvGrpSpPr>
            <p:grpSpPr>
              <a:xfrm>
                <a:off x="6542089" y="753754"/>
                <a:ext cx="2492785" cy="1131157"/>
                <a:chOff x="6542089" y="751008"/>
                <a:chExt cx="2492785" cy="1131157"/>
              </a:xfrm>
            </p:grpSpPr>
            <p:sp>
              <p:nvSpPr>
                <p:cNvPr id="35" name="Rounded Rectangle 59">
                  <a:extLst>
                    <a:ext uri="{FF2B5EF4-FFF2-40B4-BE49-F238E27FC236}">
                      <a16:creationId xmlns:a16="http://schemas.microsoft.com/office/drawing/2014/main" id="{3EF113C8-C764-46E3-9F8F-89DDB368D478}"/>
                    </a:ext>
                  </a:extLst>
                </p:cNvPr>
                <p:cNvSpPr/>
                <p:nvPr/>
              </p:nvSpPr>
              <p:spPr>
                <a:xfrm>
                  <a:off x="6629720" y="751008"/>
                  <a:ext cx="2366225" cy="1131157"/>
                </a:xfrm>
                <a:prstGeom prst="roundRect">
                  <a:avLst>
                    <a:gd name="adj" fmla="val 11161"/>
                  </a:avLst>
                </a:prstGeom>
                <a:gradFill flip="none" rotWithShape="1">
                  <a:gsLst>
                    <a:gs pos="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5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6" name="Round Same Side Corner Rectangle 65">
                  <a:extLst>
                    <a:ext uri="{FF2B5EF4-FFF2-40B4-BE49-F238E27FC236}">
                      <a16:creationId xmlns:a16="http://schemas.microsoft.com/office/drawing/2014/main" id="{DC86E526-4FB4-4D5A-8A5B-9D768F1DD614}"/>
                    </a:ext>
                  </a:extLst>
                </p:cNvPr>
                <p:cNvSpPr/>
                <p:nvPr/>
              </p:nvSpPr>
              <p:spPr>
                <a:xfrm flipV="1">
                  <a:off x="6631398" y="1415186"/>
                  <a:ext cx="2361806" cy="466979"/>
                </a:xfrm>
                <a:prstGeom prst="round2SameRect">
                  <a:avLst>
                    <a:gd name="adj1" fmla="val 28070"/>
                    <a:gd name="adj2" fmla="val 0"/>
                  </a:avLst>
                </a:prstGeom>
                <a:solidFill>
                  <a:schemeClr val="tx1">
                    <a:alpha val="1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75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38233A24-73A6-468B-9295-E7007F4F5261}"/>
                    </a:ext>
                  </a:extLst>
                </p:cNvPr>
                <p:cNvGrpSpPr/>
                <p:nvPr/>
              </p:nvGrpSpPr>
              <p:grpSpPr>
                <a:xfrm>
                  <a:off x="6772304" y="851622"/>
                  <a:ext cx="451562" cy="451928"/>
                  <a:chOff x="5356253" y="3414286"/>
                  <a:chExt cx="1104750" cy="1105645"/>
                </a:xfrm>
                <a:solidFill>
                  <a:schemeClr val="bg1"/>
                </a:solidFill>
                <a:effectLst>
                  <a:outerShdw blurRad="1270000" sx="90000" sy="90000" algn="ctr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9B5CF7C1-5127-4501-A88D-1D6C43984FC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56253" y="3414286"/>
                    <a:ext cx="1104750" cy="1105645"/>
                  </a:xfrm>
                  <a:custGeom>
                    <a:avLst/>
                    <a:gdLst>
                      <a:gd name="connsiteX0" fmla="*/ 1037773 w 2075515"/>
                      <a:gd name="connsiteY0" fmla="*/ 27804 h 2105264"/>
                      <a:gd name="connsiteX1" fmla="*/ 871342 w 2075515"/>
                      <a:gd name="connsiteY1" fmla="*/ 108729 h 2105264"/>
                      <a:gd name="connsiteX2" fmla="*/ 558516 w 2075515"/>
                      <a:gd name="connsiteY2" fmla="*/ 222603 h 2105264"/>
                      <a:gd name="connsiteX3" fmla="*/ 303334 w 2075515"/>
                      <a:gd name="connsiteY3" fmla="*/ 436645 h 2105264"/>
                      <a:gd name="connsiteX4" fmla="*/ 136727 w 2075515"/>
                      <a:gd name="connsiteY4" fmla="*/ 724846 h 2105264"/>
                      <a:gd name="connsiteX5" fmla="*/ 79083 w 2075515"/>
                      <a:gd name="connsiteY5" fmla="*/ 1052763 h 2105264"/>
                      <a:gd name="connsiteX6" fmla="*/ 136727 w 2075515"/>
                      <a:gd name="connsiteY6" fmla="*/ 1380679 h 2105264"/>
                      <a:gd name="connsiteX7" fmla="*/ 303334 w 2075515"/>
                      <a:gd name="connsiteY7" fmla="*/ 1668880 h 2105264"/>
                      <a:gd name="connsiteX8" fmla="*/ 558516 w 2075515"/>
                      <a:gd name="connsiteY8" fmla="*/ 1882922 h 2105264"/>
                      <a:gd name="connsiteX9" fmla="*/ 871342 w 2075515"/>
                      <a:gd name="connsiteY9" fmla="*/ 1996797 h 2105264"/>
                      <a:gd name="connsiteX10" fmla="*/ 1204204 w 2075515"/>
                      <a:gd name="connsiteY10" fmla="*/ 1996797 h 2105264"/>
                      <a:gd name="connsiteX11" fmla="*/ 1517030 w 2075515"/>
                      <a:gd name="connsiteY11" fmla="*/ 1882922 h 2105264"/>
                      <a:gd name="connsiteX12" fmla="*/ 1772213 w 2075515"/>
                      <a:gd name="connsiteY12" fmla="*/ 1668880 h 2105264"/>
                      <a:gd name="connsiteX13" fmla="*/ 1938467 w 2075515"/>
                      <a:gd name="connsiteY13" fmla="*/ 1380679 h 2105264"/>
                      <a:gd name="connsiteX14" fmla="*/ 1996463 w 2075515"/>
                      <a:gd name="connsiteY14" fmla="*/ 1052763 h 2105264"/>
                      <a:gd name="connsiteX15" fmla="*/ 1938467 w 2075515"/>
                      <a:gd name="connsiteY15" fmla="*/ 724846 h 2105264"/>
                      <a:gd name="connsiteX16" fmla="*/ 1772213 w 2075515"/>
                      <a:gd name="connsiteY16" fmla="*/ 436645 h 2105264"/>
                      <a:gd name="connsiteX17" fmla="*/ 1517030 w 2075515"/>
                      <a:gd name="connsiteY17" fmla="*/ 222603 h 2105264"/>
                      <a:gd name="connsiteX18" fmla="*/ 1204204 w 2075515"/>
                      <a:gd name="connsiteY18" fmla="*/ 108729 h 2105264"/>
                      <a:gd name="connsiteX19" fmla="*/ 1037773 w 2075515"/>
                      <a:gd name="connsiteY19" fmla="*/ 27804 h 2105264"/>
                      <a:gd name="connsiteX20" fmla="*/ 1037774 w 2075515"/>
                      <a:gd name="connsiteY20" fmla="*/ 0 h 2105264"/>
                      <a:gd name="connsiteX21" fmla="*/ 1208720 w 2075515"/>
                      <a:gd name="connsiteY21" fmla="*/ 83120 h 2105264"/>
                      <a:gd name="connsiteX22" fmla="*/ 1530034 w 2075515"/>
                      <a:gd name="connsiteY22" fmla="*/ 200085 h 2105264"/>
                      <a:gd name="connsiteX23" fmla="*/ 1792140 w 2075515"/>
                      <a:gd name="connsiteY23" fmla="*/ 419934 h 2105264"/>
                      <a:gd name="connsiteX24" fmla="*/ 1962905 w 2075515"/>
                      <a:gd name="connsiteY24" fmla="*/ 715954 h 2105264"/>
                      <a:gd name="connsiteX25" fmla="*/ 2022475 w 2075515"/>
                      <a:gd name="connsiteY25" fmla="*/ 1052768 h 2105264"/>
                      <a:gd name="connsiteX26" fmla="*/ 1962905 w 2075515"/>
                      <a:gd name="connsiteY26" fmla="*/ 1389581 h 2105264"/>
                      <a:gd name="connsiteX27" fmla="*/ 1792140 w 2075515"/>
                      <a:gd name="connsiteY27" fmla="*/ 1685602 h 2105264"/>
                      <a:gd name="connsiteX28" fmla="*/ 1530034 w 2075515"/>
                      <a:gd name="connsiteY28" fmla="*/ 1905451 h 2105264"/>
                      <a:gd name="connsiteX29" fmla="*/ 1208720 w 2075515"/>
                      <a:gd name="connsiteY29" fmla="*/ 2022415 h 2105264"/>
                      <a:gd name="connsiteX30" fmla="*/ 866827 w 2075515"/>
                      <a:gd name="connsiteY30" fmla="*/ 2022415 h 2105264"/>
                      <a:gd name="connsiteX31" fmla="*/ 545513 w 2075515"/>
                      <a:gd name="connsiteY31" fmla="*/ 1905451 h 2105264"/>
                      <a:gd name="connsiteX32" fmla="*/ 283408 w 2075515"/>
                      <a:gd name="connsiteY32" fmla="*/ 1685602 h 2105264"/>
                      <a:gd name="connsiteX33" fmla="*/ 112281 w 2075515"/>
                      <a:gd name="connsiteY33" fmla="*/ 1389581 h 2105264"/>
                      <a:gd name="connsiteX34" fmla="*/ 53073 w 2075515"/>
                      <a:gd name="connsiteY34" fmla="*/ 1052768 h 2105264"/>
                      <a:gd name="connsiteX35" fmla="*/ 112281 w 2075515"/>
                      <a:gd name="connsiteY35" fmla="*/ 715954 h 2105264"/>
                      <a:gd name="connsiteX36" fmla="*/ 283408 w 2075515"/>
                      <a:gd name="connsiteY36" fmla="*/ 419934 h 2105264"/>
                      <a:gd name="connsiteX37" fmla="*/ 545513 w 2075515"/>
                      <a:gd name="connsiteY37" fmla="*/ 200085 h 2105264"/>
                      <a:gd name="connsiteX38" fmla="*/ 866827 w 2075515"/>
                      <a:gd name="connsiteY38" fmla="*/ 83120 h 2105264"/>
                      <a:gd name="connsiteX39" fmla="*/ 1037774 w 2075515"/>
                      <a:gd name="connsiteY39" fmla="*/ 0 h 210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</a:cxnLst>
                    <a:rect l="l" t="t" r="r" b="b"/>
                    <a:pathLst>
                      <a:path w="2075515" h="2105264">
                        <a:moveTo>
                          <a:pt x="1037773" y="27804"/>
                        </a:moveTo>
                        <a:cubicBezTo>
                          <a:pt x="1003503" y="27804"/>
                          <a:pt x="969233" y="54779"/>
                          <a:pt x="871342" y="108729"/>
                        </a:cubicBezTo>
                        <a:cubicBezTo>
                          <a:pt x="650255" y="74637"/>
                          <a:pt x="705790" y="54252"/>
                          <a:pt x="558516" y="222603"/>
                        </a:cubicBezTo>
                        <a:cubicBezTo>
                          <a:pt x="339186" y="265834"/>
                          <a:pt x="384177" y="228227"/>
                          <a:pt x="303334" y="436645"/>
                        </a:cubicBezTo>
                        <a:cubicBezTo>
                          <a:pt x="112123" y="552277"/>
                          <a:pt x="141648" y="501315"/>
                          <a:pt x="136727" y="724846"/>
                        </a:cubicBezTo>
                        <a:cubicBezTo>
                          <a:pt x="-3166" y="899173"/>
                          <a:pt x="7027" y="841181"/>
                          <a:pt x="79083" y="1052763"/>
                        </a:cubicBezTo>
                        <a:cubicBezTo>
                          <a:pt x="7027" y="1264345"/>
                          <a:pt x="-3166" y="1206353"/>
                          <a:pt x="136727" y="1380679"/>
                        </a:cubicBezTo>
                        <a:cubicBezTo>
                          <a:pt x="141648" y="1603860"/>
                          <a:pt x="112123" y="1553249"/>
                          <a:pt x="303334" y="1668880"/>
                        </a:cubicBezTo>
                        <a:cubicBezTo>
                          <a:pt x="384177" y="1877299"/>
                          <a:pt x="339186" y="1839341"/>
                          <a:pt x="558516" y="1882922"/>
                        </a:cubicBezTo>
                        <a:cubicBezTo>
                          <a:pt x="705790" y="2050923"/>
                          <a:pt x="650255" y="2030889"/>
                          <a:pt x="871342" y="1996797"/>
                        </a:cubicBezTo>
                        <a:cubicBezTo>
                          <a:pt x="1067123" y="2104345"/>
                          <a:pt x="1008424" y="2104345"/>
                          <a:pt x="1204204" y="1996797"/>
                        </a:cubicBezTo>
                        <a:cubicBezTo>
                          <a:pt x="1424940" y="2030889"/>
                          <a:pt x="1369756" y="2050923"/>
                          <a:pt x="1517030" y="1882922"/>
                        </a:cubicBezTo>
                        <a:cubicBezTo>
                          <a:pt x="1736360" y="1839341"/>
                          <a:pt x="1691370" y="1877299"/>
                          <a:pt x="1772213" y="1668880"/>
                        </a:cubicBezTo>
                        <a:cubicBezTo>
                          <a:pt x="1963423" y="1553249"/>
                          <a:pt x="1933898" y="1603860"/>
                          <a:pt x="1938467" y="1380679"/>
                        </a:cubicBezTo>
                        <a:cubicBezTo>
                          <a:pt x="2078712" y="1206353"/>
                          <a:pt x="2068519" y="1264345"/>
                          <a:pt x="1996463" y="1052763"/>
                        </a:cubicBezTo>
                        <a:cubicBezTo>
                          <a:pt x="2068519" y="841181"/>
                          <a:pt x="2078712" y="899173"/>
                          <a:pt x="1938467" y="724846"/>
                        </a:cubicBezTo>
                        <a:cubicBezTo>
                          <a:pt x="1933898" y="501315"/>
                          <a:pt x="1963423" y="552277"/>
                          <a:pt x="1772213" y="436645"/>
                        </a:cubicBezTo>
                        <a:cubicBezTo>
                          <a:pt x="1691370" y="228227"/>
                          <a:pt x="1736360" y="265834"/>
                          <a:pt x="1517030" y="222603"/>
                        </a:cubicBezTo>
                        <a:cubicBezTo>
                          <a:pt x="1369756" y="54252"/>
                          <a:pt x="1424940" y="74285"/>
                          <a:pt x="1204204" y="108729"/>
                        </a:cubicBezTo>
                        <a:cubicBezTo>
                          <a:pt x="1106314" y="54779"/>
                          <a:pt x="1072044" y="27804"/>
                          <a:pt x="1037773" y="27804"/>
                        </a:cubicBezTo>
                        <a:close/>
                        <a:moveTo>
                          <a:pt x="1037774" y="0"/>
                        </a:moveTo>
                        <a:cubicBezTo>
                          <a:pt x="1072974" y="0"/>
                          <a:pt x="1108174" y="27707"/>
                          <a:pt x="1208720" y="83120"/>
                        </a:cubicBezTo>
                        <a:cubicBezTo>
                          <a:pt x="1435445" y="47742"/>
                          <a:pt x="1378764" y="27165"/>
                          <a:pt x="1530034" y="200085"/>
                        </a:cubicBezTo>
                        <a:cubicBezTo>
                          <a:pt x="1755315" y="244488"/>
                          <a:pt x="1709103" y="205861"/>
                          <a:pt x="1792140" y="419934"/>
                        </a:cubicBezTo>
                        <a:cubicBezTo>
                          <a:pt x="1988538" y="538703"/>
                          <a:pt x="1958212" y="486358"/>
                          <a:pt x="1962905" y="715954"/>
                        </a:cubicBezTo>
                        <a:cubicBezTo>
                          <a:pt x="2106955" y="895010"/>
                          <a:pt x="2096485" y="835445"/>
                          <a:pt x="2022475" y="1052768"/>
                        </a:cubicBezTo>
                        <a:cubicBezTo>
                          <a:pt x="2096485" y="1270090"/>
                          <a:pt x="2106955" y="1210525"/>
                          <a:pt x="1962905" y="1389581"/>
                        </a:cubicBezTo>
                        <a:cubicBezTo>
                          <a:pt x="1958212" y="1618816"/>
                          <a:pt x="1988538" y="1566832"/>
                          <a:pt x="1792140" y="1685602"/>
                        </a:cubicBezTo>
                        <a:cubicBezTo>
                          <a:pt x="1709103" y="1899675"/>
                          <a:pt x="1755315" y="1860687"/>
                          <a:pt x="1530034" y="1905451"/>
                        </a:cubicBezTo>
                        <a:cubicBezTo>
                          <a:pt x="1378764" y="2078009"/>
                          <a:pt x="1435445" y="2057432"/>
                          <a:pt x="1208720" y="2022415"/>
                        </a:cubicBezTo>
                        <a:cubicBezTo>
                          <a:pt x="1007628" y="2132881"/>
                          <a:pt x="1067919" y="2132881"/>
                          <a:pt x="866827" y="2022415"/>
                        </a:cubicBezTo>
                        <a:cubicBezTo>
                          <a:pt x="639741" y="2057432"/>
                          <a:pt x="696784" y="2078009"/>
                          <a:pt x="545513" y="1905451"/>
                        </a:cubicBezTo>
                        <a:cubicBezTo>
                          <a:pt x="320233" y="1860687"/>
                          <a:pt x="366444" y="1899675"/>
                          <a:pt x="283408" y="1685602"/>
                        </a:cubicBezTo>
                        <a:cubicBezTo>
                          <a:pt x="87009" y="1566832"/>
                          <a:pt x="117335" y="1618816"/>
                          <a:pt x="112281" y="1389581"/>
                        </a:cubicBezTo>
                        <a:cubicBezTo>
                          <a:pt x="-31408" y="1210525"/>
                          <a:pt x="-20938" y="1270090"/>
                          <a:pt x="53073" y="1052768"/>
                        </a:cubicBezTo>
                        <a:cubicBezTo>
                          <a:pt x="-20938" y="835445"/>
                          <a:pt x="-31408" y="895010"/>
                          <a:pt x="112281" y="715954"/>
                        </a:cubicBezTo>
                        <a:cubicBezTo>
                          <a:pt x="117335" y="486358"/>
                          <a:pt x="87009" y="538703"/>
                          <a:pt x="283408" y="419934"/>
                        </a:cubicBezTo>
                        <a:cubicBezTo>
                          <a:pt x="366444" y="205861"/>
                          <a:pt x="320233" y="244488"/>
                          <a:pt x="545513" y="200085"/>
                        </a:cubicBezTo>
                        <a:cubicBezTo>
                          <a:pt x="696784" y="27165"/>
                          <a:pt x="639741" y="48103"/>
                          <a:pt x="866827" y="83120"/>
                        </a:cubicBezTo>
                        <a:cubicBezTo>
                          <a:pt x="967373" y="27707"/>
                          <a:pt x="1002574" y="0"/>
                          <a:pt x="103777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44" name="Freeform 5">
                    <a:extLst>
                      <a:ext uri="{FF2B5EF4-FFF2-40B4-BE49-F238E27FC236}">
                        <a16:creationId xmlns:a16="http://schemas.microsoft.com/office/drawing/2014/main" id="{E4DEE920-3D82-441A-B482-472BA331A7D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93641" y="3452121"/>
                    <a:ext cx="1029975" cy="1029974"/>
                  </a:xfrm>
                  <a:custGeom>
                    <a:avLst/>
                    <a:gdLst>
                      <a:gd name="T0" fmla="*/ 3435 w 5923"/>
                      <a:gd name="T1" fmla="*/ 307 h 5985"/>
                      <a:gd name="T2" fmla="*/ 4325 w 5923"/>
                      <a:gd name="T3" fmla="*/ 631 h 5985"/>
                      <a:gd name="T4" fmla="*/ 5051 w 5923"/>
                      <a:gd name="T5" fmla="*/ 1240 h 5985"/>
                      <a:gd name="T6" fmla="*/ 5524 w 5923"/>
                      <a:gd name="T7" fmla="*/ 2060 h 5985"/>
                      <a:gd name="T8" fmla="*/ 5689 w 5923"/>
                      <a:gd name="T9" fmla="*/ 2993 h 5985"/>
                      <a:gd name="T10" fmla="*/ 5524 w 5923"/>
                      <a:gd name="T11" fmla="*/ 3926 h 5985"/>
                      <a:gd name="T12" fmla="*/ 5051 w 5923"/>
                      <a:gd name="T13" fmla="*/ 4746 h 5985"/>
                      <a:gd name="T14" fmla="*/ 4325 w 5923"/>
                      <a:gd name="T15" fmla="*/ 5355 h 5985"/>
                      <a:gd name="T16" fmla="*/ 3435 w 5923"/>
                      <a:gd name="T17" fmla="*/ 5679 h 5985"/>
                      <a:gd name="T18" fmla="*/ 2488 w 5923"/>
                      <a:gd name="T19" fmla="*/ 5679 h 5985"/>
                      <a:gd name="T20" fmla="*/ 1598 w 5923"/>
                      <a:gd name="T21" fmla="*/ 5355 h 5985"/>
                      <a:gd name="T22" fmla="*/ 872 w 5923"/>
                      <a:gd name="T23" fmla="*/ 4746 h 5985"/>
                      <a:gd name="T24" fmla="*/ 398 w 5923"/>
                      <a:gd name="T25" fmla="*/ 3926 h 5985"/>
                      <a:gd name="T26" fmla="*/ 234 w 5923"/>
                      <a:gd name="T27" fmla="*/ 2993 h 5985"/>
                      <a:gd name="T28" fmla="*/ 398 w 5923"/>
                      <a:gd name="T29" fmla="*/ 2060 h 5985"/>
                      <a:gd name="T30" fmla="*/ 872 w 5923"/>
                      <a:gd name="T31" fmla="*/ 1240 h 5985"/>
                      <a:gd name="T32" fmla="*/ 1598 w 5923"/>
                      <a:gd name="T33" fmla="*/ 631 h 5985"/>
                      <a:gd name="T34" fmla="*/ 2488 w 5923"/>
                      <a:gd name="T35" fmla="*/ 307 h 5985"/>
                      <a:gd name="T36" fmla="*/ 3435 w 5923"/>
                      <a:gd name="T37" fmla="*/ 307 h 598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5923" h="5985">
                        <a:moveTo>
                          <a:pt x="3435" y="307"/>
                        </a:moveTo>
                        <a:cubicBezTo>
                          <a:pt x="4063" y="209"/>
                          <a:pt x="3906" y="152"/>
                          <a:pt x="4325" y="631"/>
                        </a:cubicBezTo>
                        <a:cubicBezTo>
                          <a:pt x="4949" y="754"/>
                          <a:pt x="4821" y="647"/>
                          <a:pt x="5051" y="1240"/>
                        </a:cubicBezTo>
                        <a:cubicBezTo>
                          <a:pt x="5595" y="1569"/>
                          <a:pt x="5511" y="1424"/>
                          <a:pt x="5524" y="2060"/>
                        </a:cubicBezTo>
                        <a:cubicBezTo>
                          <a:pt x="5923" y="2556"/>
                          <a:pt x="5894" y="2391"/>
                          <a:pt x="5689" y="2993"/>
                        </a:cubicBezTo>
                        <a:cubicBezTo>
                          <a:pt x="5894" y="3595"/>
                          <a:pt x="5923" y="3430"/>
                          <a:pt x="5524" y="3926"/>
                        </a:cubicBezTo>
                        <a:cubicBezTo>
                          <a:pt x="5511" y="4561"/>
                          <a:pt x="5595" y="4417"/>
                          <a:pt x="5051" y="4746"/>
                        </a:cubicBezTo>
                        <a:cubicBezTo>
                          <a:pt x="4821" y="5339"/>
                          <a:pt x="4949" y="5231"/>
                          <a:pt x="4325" y="5355"/>
                        </a:cubicBezTo>
                        <a:cubicBezTo>
                          <a:pt x="3906" y="5833"/>
                          <a:pt x="4063" y="5776"/>
                          <a:pt x="3435" y="5679"/>
                        </a:cubicBezTo>
                        <a:cubicBezTo>
                          <a:pt x="2878" y="5985"/>
                          <a:pt x="3045" y="5985"/>
                          <a:pt x="2488" y="5679"/>
                        </a:cubicBezTo>
                        <a:cubicBezTo>
                          <a:pt x="1859" y="5776"/>
                          <a:pt x="2017" y="5833"/>
                          <a:pt x="1598" y="5355"/>
                        </a:cubicBezTo>
                        <a:cubicBezTo>
                          <a:pt x="974" y="5231"/>
                          <a:pt x="1102" y="5339"/>
                          <a:pt x="872" y="4746"/>
                        </a:cubicBezTo>
                        <a:cubicBezTo>
                          <a:pt x="328" y="4417"/>
                          <a:pt x="412" y="4561"/>
                          <a:pt x="398" y="3926"/>
                        </a:cubicBezTo>
                        <a:cubicBezTo>
                          <a:pt x="0" y="3430"/>
                          <a:pt x="29" y="3595"/>
                          <a:pt x="234" y="2993"/>
                        </a:cubicBezTo>
                        <a:cubicBezTo>
                          <a:pt x="29" y="2391"/>
                          <a:pt x="0" y="2556"/>
                          <a:pt x="398" y="2060"/>
                        </a:cubicBezTo>
                        <a:cubicBezTo>
                          <a:pt x="412" y="1424"/>
                          <a:pt x="328" y="1569"/>
                          <a:pt x="872" y="1240"/>
                        </a:cubicBezTo>
                        <a:cubicBezTo>
                          <a:pt x="1102" y="647"/>
                          <a:pt x="974" y="754"/>
                          <a:pt x="1598" y="631"/>
                        </a:cubicBezTo>
                        <a:cubicBezTo>
                          <a:pt x="2017" y="152"/>
                          <a:pt x="1859" y="210"/>
                          <a:pt x="2488" y="307"/>
                        </a:cubicBezTo>
                        <a:cubicBezTo>
                          <a:pt x="3045" y="0"/>
                          <a:pt x="2878" y="0"/>
                          <a:pt x="3435" y="30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57150" tIns="28575" rIns="57150" bIns="2857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id-ID" sz="1125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24FD46F8-EAAD-426B-85E5-D0C71A695F33}"/>
                    </a:ext>
                  </a:extLst>
                </p:cNvPr>
                <p:cNvSpPr/>
                <p:nvPr/>
              </p:nvSpPr>
              <p:spPr>
                <a:xfrm>
                  <a:off x="6542089" y="1470913"/>
                  <a:ext cx="2492785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ctr">
                    <a:lnSpc>
                      <a:spcPct val="12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</a:t>
                  </a:r>
                </a:p>
              </p:txBody>
            </p:sp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18F8A3CB-4399-45F7-8E79-F2567D9227CA}"/>
                    </a:ext>
                  </a:extLst>
                </p:cNvPr>
                <p:cNvSpPr txBox="1"/>
                <p:nvPr/>
              </p:nvSpPr>
              <p:spPr>
                <a:xfrm>
                  <a:off x="8324072" y="809480"/>
                  <a:ext cx="599844" cy="338554"/>
                </a:xfrm>
                <a:prstGeom prst="rect">
                  <a:avLst/>
                </a:prstGeom>
                <a:noFill/>
              </p:spPr>
              <p:txBody>
                <a:bodyPr wrap="none" rtlCol="0" anchor="ctr">
                  <a:spAutoFit/>
                </a:bodyPr>
                <a:lstStyle/>
                <a:p>
                  <a:pPr algn="r"/>
                  <a:r>
                    <a:rPr lang="en-US" sz="1600" b="1" dirty="0">
                      <a:solidFill>
                        <a:schemeClr val="bg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51%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F22EC721-F51E-4390-8C1D-E316CDA2DBEC}"/>
                    </a:ext>
                  </a:extLst>
                </p:cNvPr>
                <p:cNvSpPr/>
                <p:nvPr/>
              </p:nvSpPr>
              <p:spPr>
                <a:xfrm>
                  <a:off x="7675330" y="1051933"/>
                  <a:ext cx="1248586" cy="333617"/>
                </a:xfrm>
                <a:prstGeom prst="rect">
                  <a:avLst/>
                </a:prstGeom>
              </p:spPr>
              <p:txBody>
                <a:bodyPr wrap="square" anchor="ctr">
                  <a:spAutoFit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bg1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0" name="Freeform 29">
                  <a:extLst>
                    <a:ext uri="{FF2B5EF4-FFF2-40B4-BE49-F238E27FC236}">
                      <a16:creationId xmlns:a16="http://schemas.microsoft.com/office/drawing/2014/main" id="{90591769-5706-465C-821C-8915402D27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08387" y="995929"/>
                  <a:ext cx="179395" cy="185090"/>
                </a:xfrm>
                <a:custGeom>
                  <a:avLst/>
                  <a:gdLst>
                    <a:gd name="T0" fmla="*/ 111726 w 444"/>
                    <a:gd name="T1" fmla="*/ 150538 h 462"/>
                    <a:gd name="T2" fmla="*/ 111726 w 444"/>
                    <a:gd name="T3" fmla="*/ 150538 h 462"/>
                    <a:gd name="T4" fmla="*/ 144162 w 444"/>
                    <a:gd name="T5" fmla="*/ 114802 h 462"/>
                    <a:gd name="T6" fmla="*/ 199574 w 444"/>
                    <a:gd name="T7" fmla="*/ 31716 h 462"/>
                    <a:gd name="T8" fmla="*/ 191916 w 444"/>
                    <a:gd name="T9" fmla="*/ 23675 h 462"/>
                    <a:gd name="T10" fmla="*/ 155875 w 444"/>
                    <a:gd name="T11" fmla="*/ 23675 h 462"/>
                    <a:gd name="T12" fmla="*/ 100013 w 444"/>
                    <a:gd name="T13" fmla="*/ 0 h 462"/>
                    <a:gd name="T14" fmla="*/ 44150 w 444"/>
                    <a:gd name="T15" fmla="*/ 23675 h 462"/>
                    <a:gd name="T16" fmla="*/ 8109 w 444"/>
                    <a:gd name="T17" fmla="*/ 23675 h 462"/>
                    <a:gd name="T18" fmla="*/ 0 w 444"/>
                    <a:gd name="T19" fmla="*/ 31716 h 462"/>
                    <a:gd name="T20" fmla="*/ 55863 w 444"/>
                    <a:gd name="T21" fmla="*/ 114802 h 462"/>
                    <a:gd name="T22" fmla="*/ 87849 w 444"/>
                    <a:gd name="T23" fmla="*/ 150538 h 462"/>
                    <a:gd name="T24" fmla="*/ 87849 w 444"/>
                    <a:gd name="T25" fmla="*/ 166172 h 462"/>
                    <a:gd name="T26" fmla="*/ 48204 w 444"/>
                    <a:gd name="T27" fmla="*/ 185827 h 462"/>
                    <a:gd name="T28" fmla="*/ 100013 w 444"/>
                    <a:gd name="T29" fmla="*/ 205928 h 462"/>
                    <a:gd name="T30" fmla="*/ 147766 w 444"/>
                    <a:gd name="T31" fmla="*/ 185827 h 462"/>
                    <a:gd name="T32" fmla="*/ 111726 w 444"/>
                    <a:gd name="T33" fmla="*/ 166172 h 462"/>
                    <a:gd name="T34" fmla="*/ 111726 w 444"/>
                    <a:gd name="T35" fmla="*/ 150538 h 462"/>
                    <a:gd name="T36" fmla="*/ 144162 w 444"/>
                    <a:gd name="T37" fmla="*/ 94700 h 462"/>
                    <a:gd name="T38" fmla="*/ 144162 w 444"/>
                    <a:gd name="T39" fmla="*/ 94700 h 462"/>
                    <a:gd name="T40" fmla="*/ 155875 w 444"/>
                    <a:gd name="T41" fmla="*/ 39756 h 462"/>
                    <a:gd name="T42" fmla="*/ 183807 w 444"/>
                    <a:gd name="T43" fmla="*/ 39756 h 462"/>
                    <a:gd name="T44" fmla="*/ 144162 w 444"/>
                    <a:gd name="T45" fmla="*/ 94700 h 462"/>
                    <a:gd name="T46" fmla="*/ 100013 w 444"/>
                    <a:gd name="T47" fmla="*/ 16081 h 462"/>
                    <a:gd name="T48" fmla="*/ 100013 w 444"/>
                    <a:gd name="T49" fmla="*/ 16081 h 462"/>
                    <a:gd name="T50" fmla="*/ 144162 w 444"/>
                    <a:gd name="T51" fmla="*/ 31716 h 462"/>
                    <a:gd name="T52" fmla="*/ 100013 w 444"/>
                    <a:gd name="T53" fmla="*/ 51370 h 462"/>
                    <a:gd name="T54" fmla="*/ 55863 w 444"/>
                    <a:gd name="T55" fmla="*/ 31716 h 462"/>
                    <a:gd name="T56" fmla="*/ 100013 w 444"/>
                    <a:gd name="T57" fmla="*/ 16081 h 462"/>
                    <a:gd name="T58" fmla="*/ 16218 w 444"/>
                    <a:gd name="T59" fmla="*/ 39756 h 462"/>
                    <a:gd name="T60" fmla="*/ 16218 w 444"/>
                    <a:gd name="T61" fmla="*/ 39756 h 462"/>
                    <a:gd name="T62" fmla="*/ 44150 w 444"/>
                    <a:gd name="T63" fmla="*/ 39756 h 462"/>
                    <a:gd name="T64" fmla="*/ 55863 w 444"/>
                    <a:gd name="T65" fmla="*/ 94700 h 462"/>
                    <a:gd name="T66" fmla="*/ 16218 w 444"/>
                    <a:gd name="T67" fmla="*/ 39756 h 46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444" h="462">
                      <a:moveTo>
                        <a:pt x="248" y="337"/>
                      </a:moveTo>
                      <a:lnTo>
                        <a:pt x="248" y="337"/>
                      </a:lnTo>
                      <a:cubicBezTo>
                        <a:pt x="248" y="302"/>
                        <a:pt x="275" y="283"/>
                        <a:pt x="320" y="257"/>
                      </a:cubicBezTo>
                      <a:cubicBezTo>
                        <a:pt x="373" y="221"/>
                        <a:pt x="443" y="177"/>
                        <a:pt x="443" y="71"/>
                      </a:cubicBezTo>
                      <a:cubicBezTo>
                        <a:pt x="443" y="62"/>
                        <a:pt x="434" y="53"/>
                        <a:pt x="426" y="53"/>
                      </a:cubicBezTo>
                      <a:cubicBezTo>
                        <a:pt x="346" y="53"/>
                        <a:pt x="346" y="53"/>
                        <a:pt x="346" y="53"/>
                      </a:cubicBezTo>
                      <a:cubicBezTo>
                        <a:pt x="328" y="27"/>
                        <a:pt x="293" y="0"/>
                        <a:pt x="222" y="0"/>
                      </a:cubicBezTo>
                      <a:cubicBezTo>
                        <a:pt x="151" y="0"/>
                        <a:pt x="116" y="27"/>
                        <a:pt x="98" y="53"/>
                      </a:cubicBezTo>
                      <a:cubicBezTo>
                        <a:pt x="18" y="53"/>
                        <a:pt x="18" y="53"/>
                        <a:pt x="18" y="53"/>
                      </a:cubicBezTo>
                      <a:cubicBezTo>
                        <a:pt x="9" y="53"/>
                        <a:pt x="0" y="62"/>
                        <a:pt x="0" y="71"/>
                      </a:cubicBezTo>
                      <a:cubicBezTo>
                        <a:pt x="0" y="177"/>
                        <a:pt x="62" y="221"/>
                        <a:pt x="124" y="257"/>
                      </a:cubicBezTo>
                      <a:cubicBezTo>
                        <a:pt x="169" y="283"/>
                        <a:pt x="195" y="302"/>
                        <a:pt x="195" y="337"/>
                      </a:cubicBezTo>
                      <a:cubicBezTo>
                        <a:pt x="195" y="372"/>
                        <a:pt x="195" y="372"/>
                        <a:pt x="195" y="372"/>
                      </a:cubicBezTo>
                      <a:cubicBezTo>
                        <a:pt x="142" y="381"/>
                        <a:pt x="107" y="399"/>
                        <a:pt x="107" y="416"/>
                      </a:cubicBezTo>
                      <a:cubicBezTo>
                        <a:pt x="107" y="443"/>
                        <a:pt x="160" y="461"/>
                        <a:pt x="222" y="461"/>
                      </a:cubicBezTo>
                      <a:cubicBezTo>
                        <a:pt x="283" y="461"/>
                        <a:pt x="328" y="443"/>
                        <a:pt x="328" y="416"/>
                      </a:cubicBezTo>
                      <a:cubicBezTo>
                        <a:pt x="328" y="399"/>
                        <a:pt x="302" y="381"/>
                        <a:pt x="248" y="372"/>
                      </a:cubicBezTo>
                      <a:lnTo>
                        <a:pt x="248" y="337"/>
                      </a:lnTo>
                      <a:close/>
                      <a:moveTo>
                        <a:pt x="320" y="212"/>
                      </a:moveTo>
                      <a:lnTo>
                        <a:pt x="320" y="212"/>
                      </a:lnTo>
                      <a:cubicBezTo>
                        <a:pt x="337" y="186"/>
                        <a:pt x="346" y="142"/>
                        <a:pt x="346" y="89"/>
                      </a:cubicBezTo>
                      <a:cubicBezTo>
                        <a:pt x="408" y="89"/>
                        <a:pt x="408" y="89"/>
                        <a:pt x="408" y="89"/>
                      </a:cubicBezTo>
                      <a:cubicBezTo>
                        <a:pt x="399" y="151"/>
                        <a:pt x="364" y="186"/>
                        <a:pt x="320" y="212"/>
                      </a:cubicBezTo>
                      <a:close/>
                      <a:moveTo>
                        <a:pt x="222" y="36"/>
                      </a:moveTo>
                      <a:lnTo>
                        <a:pt x="222" y="36"/>
                      </a:lnTo>
                      <a:cubicBezTo>
                        <a:pt x="293" y="36"/>
                        <a:pt x="320" y="62"/>
                        <a:pt x="320" y="71"/>
                      </a:cubicBezTo>
                      <a:cubicBezTo>
                        <a:pt x="320" y="80"/>
                        <a:pt x="293" y="106"/>
                        <a:pt x="222" y="115"/>
                      </a:cubicBezTo>
                      <a:cubicBezTo>
                        <a:pt x="151" y="106"/>
                        <a:pt x="124" y="80"/>
                        <a:pt x="124" y="71"/>
                      </a:cubicBezTo>
                      <a:cubicBezTo>
                        <a:pt x="124" y="62"/>
                        <a:pt x="151" y="36"/>
                        <a:pt x="222" y="36"/>
                      </a:cubicBezTo>
                      <a:close/>
                      <a:moveTo>
                        <a:pt x="36" y="89"/>
                      </a:moveTo>
                      <a:lnTo>
                        <a:pt x="36" y="89"/>
                      </a:lnTo>
                      <a:cubicBezTo>
                        <a:pt x="98" y="89"/>
                        <a:pt x="98" y="89"/>
                        <a:pt x="98" y="89"/>
                      </a:cubicBezTo>
                      <a:cubicBezTo>
                        <a:pt x="98" y="142"/>
                        <a:pt x="107" y="186"/>
                        <a:pt x="124" y="212"/>
                      </a:cubicBezTo>
                      <a:cubicBezTo>
                        <a:pt x="80" y="186"/>
                        <a:pt x="36" y="151"/>
                        <a:pt x="36" y="89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blurRad="63500" dist="38099" dir="2700000" algn="ctr" rotWithShape="0">
                          <a:srgbClr val="000000">
                            <a:alpha val="74997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34290" tIns="17145" rIns="34290" bIns="17145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E037D20A-3994-4C45-9163-FED2F93D64CD}"/>
                  </a:ext>
                </a:extLst>
              </p:cNvPr>
              <p:cNvSpPr/>
              <p:nvPr/>
            </p:nvSpPr>
            <p:spPr>
              <a:xfrm rot="20688965">
                <a:off x="6142730" y="5322699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1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7" name="Rectangle 56">
                <a:extLst>
                  <a:ext uri="{FF2B5EF4-FFF2-40B4-BE49-F238E27FC236}">
                    <a16:creationId xmlns:a16="http://schemas.microsoft.com/office/drawing/2014/main" id="{4F50604E-D46C-4E9D-918D-89C400606DD0}"/>
                  </a:ext>
                </a:extLst>
              </p:cNvPr>
              <p:cNvSpPr/>
              <p:nvPr/>
            </p:nvSpPr>
            <p:spPr>
              <a:xfrm rot="20688965">
                <a:off x="7445609" y="4629648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2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D7507C0-E0F5-447F-B650-747824CCC54C}"/>
                  </a:ext>
                </a:extLst>
              </p:cNvPr>
              <p:cNvSpPr/>
              <p:nvPr/>
            </p:nvSpPr>
            <p:spPr>
              <a:xfrm rot="20688965">
                <a:off x="8703182" y="3977590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3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27580020-C2BA-4DCC-AE4A-61192A4114BB}"/>
                  </a:ext>
                </a:extLst>
              </p:cNvPr>
              <p:cNvSpPr/>
              <p:nvPr/>
            </p:nvSpPr>
            <p:spPr>
              <a:xfrm rot="20688965">
                <a:off x="9911679" y="3330404"/>
                <a:ext cx="1069222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4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04</a:t>
                </a:r>
                <a:endParaRPr lang="id-ID" sz="4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FE8535A-275E-4838-AD85-703CBEF98A1C}"/>
                </a:ext>
              </a:extLst>
            </p:cNvPr>
            <p:cNvGrpSpPr/>
            <p:nvPr/>
          </p:nvGrpSpPr>
          <p:grpSpPr>
            <a:xfrm>
              <a:off x="1819112" y="362796"/>
              <a:ext cx="4884551" cy="2827672"/>
              <a:chOff x="1136764" y="388609"/>
              <a:chExt cx="4884551" cy="2827672"/>
            </a:xfrm>
          </p:grpSpPr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3CD4EF1C-56BD-4FB5-A4B2-0B10A5FD0A1A}"/>
                  </a:ext>
                </a:extLst>
              </p:cNvPr>
              <p:cNvSpPr txBox="1"/>
              <p:nvPr/>
            </p:nvSpPr>
            <p:spPr>
              <a:xfrm>
                <a:off x="1139973" y="388609"/>
                <a:ext cx="4881342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44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4 Stage 3D Stairs Infographic </a:t>
                </a:r>
                <a:endParaRPr lang="en-ID" sz="44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C1172ECA-709B-46FC-AE06-A63A79C3A8DA}"/>
                  </a:ext>
                </a:extLst>
              </p:cNvPr>
              <p:cNvSpPr/>
              <p:nvPr/>
            </p:nvSpPr>
            <p:spPr>
              <a:xfrm>
                <a:off x="1136764" y="1961835"/>
                <a:ext cx="3581450" cy="125444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600" dirty="0">
                    <a:solidFill>
                      <a:schemeClr val="bg1"/>
                    </a:solidFill>
                    <a:latin typeface="+mj-lt"/>
                    <a:cs typeface="Segoe UI Light" panose="020B0502040204020203" pitchFamily="34" charset="0"/>
                  </a:rPr>
                  <a:t>A wonderful serenity has taken possession of my entire soul, like these sweet mornings of spring which I enjoy with my whole heart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6349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6906792B-E449-4526-8D62-D155FAAB0375}"/>
              </a:ext>
            </a:extLst>
          </p:cNvPr>
          <p:cNvGrpSpPr/>
          <p:nvPr/>
        </p:nvGrpSpPr>
        <p:grpSpPr>
          <a:xfrm>
            <a:off x="1265336" y="592164"/>
            <a:ext cx="9661328" cy="5673673"/>
            <a:chOff x="774484" y="755198"/>
            <a:chExt cx="9661328" cy="5673673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96549B6B-A52C-4037-B761-830F02B843C5}"/>
                </a:ext>
              </a:extLst>
            </p:cNvPr>
            <p:cNvSpPr txBox="1"/>
            <p:nvPr/>
          </p:nvSpPr>
          <p:spPr>
            <a:xfrm>
              <a:off x="774484" y="755198"/>
              <a:ext cx="4747054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 Options Floating 3D Cubes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7F84095-7DAE-4DC2-AF9E-DF7285F4C659}"/>
                </a:ext>
              </a:extLst>
            </p:cNvPr>
            <p:cNvGrpSpPr/>
            <p:nvPr/>
          </p:nvGrpSpPr>
          <p:grpSpPr>
            <a:xfrm>
              <a:off x="2969816" y="1335628"/>
              <a:ext cx="7465996" cy="5093243"/>
              <a:chOff x="2117415" y="1514034"/>
              <a:chExt cx="7465996" cy="5093243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7E00BD7B-144C-4D3A-A6A1-07342C3358EF}"/>
                  </a:ext>
                </a:extLst>
              </p:cNvPr>
              <p:cNvGrpSpPr/>
              <p:nvPr/>
            </p:nvGrpSpPr>
            <p:grpSpPr>
              <a:xfrm>
                <a:off x="2954356" y="1652588"/>
                <a:ext cx="4230903" cy="4954689"/>
                <a:chOff x="-496080" y="1652588"/>
                <a:chExt cx="4230903" cy="4954689"/>
              </a:xfrm>
            </p:grpSpPr>
            <p:sp>
              <p:nvSpPr>
                <p:cNvPr id="6" name="Freeform 136">
                  <a:extLst>
                    <a:ext uri="{FF2B5EF4-FFF2-40B4-BE49-F238E27FC236}">
                      <a16:creationId xmlns:a16="http://schemas.microsoft.com/office/drawing/2014/main" id="{D6B056C0-F402-4AE1-8F4A-F4811927AD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496080" y="5126461"/>
                  <a:ext cx="4215793" cy="1480816"/>
                </a:xfrm>
                <a:custGeom>
                  <a:avLst/>
                  <a:gdLst>
                    <a:gd name="T0" fmla="*/ 1011 w 2790"/>
                    <a:gd name="T1" fmla="*/ 0 h 980"/>
                    <a:gd name="T2" fmla="*/ 2790 w 2790"/>
                    <a:gd name="T3" fmla="*/ 589 h 980"/>
                    <a:gd name="T4" fmla="*/ 1495 w 2790"/>
                    <a:gd name="T5" fmla="*/ 980 h 980"/>
                    <a:gd name="T6" fmla="*/ 0 w 2790"/>
                    <a:gd name="T7" fmla="*/ 188 h 980"/>
                    <a:gd name="T8" fmla="*/ 1011 w 2790"/>
                    <a:gd name="T9" fmla="*/ 0 h 9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90" h="980">
                      <a:moveTo>
                        <a:pt x="1011" y="0"/>
                      </a:moveTo>
                      <a:lnTo>
                        <a:pt x="2790" y="589"/>
                      </a:lnTo>
                      <a:lnTo>
                        <a:pt x="1495" y="980"/>
                      </a:lnTo>
                      <a:lnTo>
                        <a:pt x="0" y="188"/>
                      </a:lnTo>
                      <a:lnTo>
                        <a:pt x="1011" y="0"/>
                      </a:ln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  <a:alpha val="24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" name="Freeform 137">
                  <a:extLst>
                    <a:ext uri="{FF2B5EF4-FFF2-40B4-BE49-F238E27FC236}">
                      <a16:creationId xmlns:a16="http://schemas.microsoft.com/office/drawing/2014/main" id="{8AE29E62-A4AA-435F-B4C5-2DD88FC723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5347" y="1658632"/>
                  <a:ext cx="365671" cy="858269"/>
                </a:xfrm>
                <a:custGeom>
                  <a:avLst/>
                  <a:gdLst>
                    <a:gd name="T0" fmla="*/ 240 w 242"/>
                    <a:gd name="T1" fmla="*/ 538 h 568"/>
                    <a:gd name="T2" fmla="*/ 24 w 242"/>
                    <a:gd name="T3" fmla="*/ 568 h 568"/>
                    <a:gd name="T4" fmla="*/ 0 w 242"/>
                    <a:gd name="T5" fmla="*/ 68 h 568"/>
                    <a:gd name="T6" fmla="*/ 242 w 242"/>
                    <a:gd name="T7" fmla="*/ 0 h 568"/>
                    <a:gd name="T8" fmla="*/ 240 w 242"/>
                    <a:gd name="T9" fmla="*/ 538 h 5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2" h="568">
                      <a:moveTo>
                        <a:pt x="240" y="538"/>
                      </a:moveTo>
                      <a:lnTo>
                        <a:pt x="24" y="568"/>
                      </a:lnTo>
                      <a:lnTo>
                        <a:pt x="0" y="68"/>
                      </a:lnTo>
                      <a:lnTo>
                        <a:pt x="242" y="0"/>
                      </a:lnTo>
                      <a:lnTo>
                        <a:pt x="240" y="538"/>
                      </a:lnTo>
                      <a:close/>
                    </a:path>
                  </a:pathLst>
                </a:custGeom>
                <a:solidFill>
                  <a:schemeClr val="accent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" name="Freeform 138">
                  <a:extLst>
                    <a:ext uri="{FF2B5EF4-FFF2-40B4-BE49-F238E27FC236}">
                      <a16:creationId xmlns:a16="http://schemas.microsoft.com/office/drawing/2014/main" id="{CE397CF7-3E7E-4C42-ADA8-D549802A66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1612" y="2467036"/>
                  <a:ext cx="2440325" cy="197945"/>
                </a:xfrm>
                <a:custGeom>
                  <a:avLst/>
                  <a:gdLst>
                    <a:gd name="T0" fmla="*/ 223 w 1615"/>
                    <a:gd name="T1" fmla="*/ 0 h 131"/>
                    <a:gd name="T2" fmla="*/ 0 w 1615"/>
                    <a:gd name="T3" fmla="*/ 31 h 131"/>
                    <a:gd name="T4" fmla="*/ 1355 w 1615"/>
                    <a:gd name="T5" fmla="*/ 131 h 131"/>
                    <a:gd name="T6" fmla="*/ 1615 w 1615"/>
                    <a:gd name="T7" fmla="*/ 111 h 131"/>
                    <a:gd name="T8" fmla="*/ 223 w 1615"/>
                    <a:gd name="T9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615" h="131">
                      <a:moveTo>
                        <a:pt x="223" y="0"/>
                      </a:moveTo>
                      <a:lnTo>
                        <a:pt x="0" y="31"/>
                      </a:lnTo>
                      <a:lnTo>
                        <a:pt x="1355" y="131"/>
                      </a:lnTo>
                      <a:lnTo>
                        <a:pt x="1615" y="111"/>
                      </a:lnTo>
                      <a:lnTo>
                        <a:pt x="223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" name="Freeform 139">
                  <a:extLst>
                    <a:ext uri="{FF2B5EF4-FFF2-40B4-BE49-F238E27FC236}">
                      <a16:creationId xmlns:a16="http://schemas.microsoft.com/office/drawing/2014/main" id="{1EDFC08A-B6A2-4E0C-A237-65D1E93323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3464" y="1652588"/>
                  <a:ext cx="2118474" cy="985196"/>
                </a:xfrm>
                <a:custGeom>
                  <a:avLst/>
                  <a:gdLst>
                    <a:gd name="T0" fmla="*/ 1402 w 1402"/>
                    <a:gd name="T1" fmla="*/ 652 h 652"/>
                    <a:gd name="T2" fmla="*/ 0 w 1402"/>
                    <a:gd name="T3" fmla="*/ 542 h 652"/>
                    <a:gd name="T4" fmla="*/ 0 w 1402"/>
                    <a:gd name="T5" fmla="*/ 0 h 652"/>
                    <a:gd name="T6" fmla="*/ 1402 w 1402"/>
                    <a:gd name="T7" fmla="*/ 206 h 652"/>
                    <a:gd name="T8" fmla="*/ 1402 w 1402"/>
                    <a:gd name="T9" fmla="*/ 652 h 6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02" h="652">
                      <a:moveTo>
                        <a:pt x="1402" y="652"/>
                      </a:moveTo>
                      <a:lnTo>
                        <a:pt x="0" y="542"/>
                      </a:lnTo>
                      <a:lnTo>
                        <a:pt x="0" y="0"/>
                      </a:lnTo>
                      <a:lnTo>
                        <a:pt x="1402" y="206"/>
                      </a:lnTo>
                      <a:lnTo>
                        <a:pt x="1402" y="652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" name="Freeform 140">
                  <a:extLst>
                    <a:ext uri="{FF2B5EF4-FFF2-40B4-BE49-F238E27FC236}">
                      <a16:creationId xmlns:a16="http://schemas.microsoft.com/office/drawing/2014/main" id="{A0B37369-D905-4783-B939-9543DA8F70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3701" y="2751111"/>
                  <a:ext cx="380781" cy="785739"/>
                </a:xfrm>
                <a:custGeom>
                  <a:avLst/>
                  <a:gdLst>
                    <a:gd name="T0" fmla="*/ 240 w 252"/>
                    <a:gd name="T1" fmla="*/ 0 h 520"/>
                    <a:gd name="T2" fmla="*/ 0 w 252"/>
                    <a:gd name="T3" fmla="*/ 21 h 520"/>
                    <a:gd name="T4" fmla="*/ 16 w 252"/>
                    <a:gd name="T5" fmla="*/ 515 h 520"/>
                    <a:gd name="T6" fmla="*/ 252 w 252"/>
                    <a:gd name="T7" fmla="*/ 520 h 520"/>
                    <a:gd name="T8" fmla="*/ 240 w 252"/>
                    <a:gd name="T9" fmla="*/ 0 h 5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2" h="520">
                      <a:moveTo>
                        <a:pt x="240" y="0"/>
                      </a:moveTo>
                      <a:lnTo>
                        <a:pt x="0" y="21"/>
                      </a:lnTo>
                      <a:lnTo>
                        <a:pt x="16" y="515"/>
                      </a:lnTo>
                      <a:lnTo>
                        <a:pt x="252" y="520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" name="Freeform 141">
                  <a:extLst>
                    <a:ext uri="{FF2B5EF4-FFF2-40B4-BE49-F238E27FC236}">
                      <a16:creationId xmlns:a16="http://schemas.microsoft.com/office/drawing/2014/main" id="{EDF1FE3D-1814-4D00-91D2-238740871F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817" y="2751111"/>
                  <a:ext cx="2067098" cy="785739"/>
                </a:xfrm>
                <a:custGeom>
                  <a:avLst/>
                  <a:gdLst>
                    <a:gd name="T0" fmla="*/ 1368 w 1368"/>
                    <a:gd name="T1" fmla="*/ 498 h 520"/>
                    <a:gd name="T2" fmla="*/ 12 w 1368"/>
                    <a:gd name="T3" fmla="*/ 520 h 520"/>
                    <a:gd name="T4" fmla="*/ 0 w 1368"/>
                    <a:gd name="T5" fmla="*/ 0 h 520"/>
                    <a:gd name="T6" fmla="*/ 1368 w 1368"/>
                    <a:gd name="T7" fmla="*/ 73 h 520"/>
                    <a:gd name="T8" fmla="*/ 1368 w 1368"/>
                    <a:gd name="T9" fmla="*/ 498 h 5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8" h="520">
                      <a:moveTo>
                        <a:pt x="1368" y="498"/>
                      </a:moveTo>
                      <a:lnTo>
                        <a:pt x="12" y="520"/>
                      </a:lnTo>
                      <a:lnTo>
                        <a:pt x="0" y="0"/>
                      </a:lnTo>
                      <a:lnTo>
                        <a:pt x="1368" y="73"/>
                      </a:lnTo>
                      <a:lnTo>
                        <a:pt x="1368" y="49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" name="Freeform 142">
                  <a:extLst>
                    <a:ext uri="{FF2B5EF4-FFF2-40B4-BE49-F238E27FC236}">
                      <a16:creationId xmlns:a16="http://schemas.microsoft.com/office/drawing/2014/main" id="{919C13D6-9483-4E23-9782-F6FF570F76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543" y="3712131"/>
                  <a:ext cx="2414637" cy="107283"/>
                </a:xfrm>
                <a:custGeom>
                  <a:avLst/>
                  <a:gdLst>
                    <a:gd name="T0" fmla="*/ 0 w 1598"/>
                    <a:gd name="T1" fmla="*/ 53 h 71"/>
                    <a:gd name="T2" fmla="*/ 239 w 1598"/>
                    <a:gd name="T3" fmla="*/ 71 h 71"/>
                    <a:gd name="T4" fmla="*/ 1598 w 1598"/>
                    <a:gd name="T5" fmla="*/ 11 h 71"/>
                    <a:gd name="T6" fmla="*/ 1326 w 1598"/>
                    <a:gd name="T7" fmla="*/ 0 h 71"/>
                    <a:gd name="T8" fmla="*/ 0 w 1598"/>
                    <a:gd name="T9" fmla="*/ 53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98" h="71">
                      <a:moveTo>
                        <a:pt x="0" y="53"/>
                      </a:moveTo>
                      <a:lnTo>
                        <a:pt x="239" y="71"/>
                      </a:lnTo>
                      <a:lnTo>
                        <a:pt x="1598" y="11"/>
                      </a:lnTo>
                      <a:lnTo>
                        <a:pt x="1326" y="0"/>
                      </a:lnTo>
                      <a:lnTo>
                        <a:pt x="0" y="53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" name="Freeform 143">
                  <a:extLst>
                    <a:ext uri="{FF2B5EF4-FFF2-40B4-BE49-F238E27FC236}">
                      <a16:creationId xmlns:a16="http://schemas.microsoft.com/office/drawing/2014/main" id="{65229180-0931-4EE8-A12C-62A2B38E4B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13780" y="3787682"/>
                  <a:ext cx="389847" cy="799338"/>
                </a:xfrm>
                <a:custGeom>
                  <a:avLst/>
                  <a:gdLst>
                    <a:gd name="T0" fmla="*/ 258 w 258"/>
                    <a:gd name="T1" fmla="*/ 529 h 529"/>
                    <a:gd name="T2" fmla="*/ 22 w 258"/>
                    <a:gd name="T3" fmla="*/ 485 h 529"/>
                    <a:gd name="T4" fmla="*/ 0 w 258"/>
                    <a:gd name="T5" fmla="*/ 0 h 529"/>
                    <a:gd name="T6" fmla="*/ 240 w 258"/>
                    <a:gd name="T7" fmla="*/ 19 h 529"/>
                    <a:gd name="T8" fmla="*/ 258 w 258"/>
                    <a:gd name="T9" fmla="*/ 529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8" h="529">
                      <a:moveTo>
                        <a:pt x="258" y="529"/>
                      </a:moveTo>
                      <a:lnTo>
                        <a:pt x="22" y="485"/>
                      </a:lnTo>
                      <a:lnTo>
                        <a:pt x="0" y="0"/>
                      </a:lnTo>
                      <a:lnTo>
                        <a:pt x="240" y="19"/>
                      </a:lnTo>
                      <a:lnTo>
                        <a:pt x="258" y="529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4" name="Freeform 144">
                  <a:extLst>
                    <a:ext uri="{FF2B5EF4-FFF2-40B4-BE49-F238E27FC236}">
                      <a16:creationId xmlns:a16="http://schemas.microsoft.com/office/drawing/2014/main" id="{A021850D-2FFC-494A-AC74-770E7A7708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7148" y="3725730"/>
                  <a:ext cx="2065588" cy="861291"/>
                </a:xfrm>
                <a:custGeom>
                  <a:avLst/>
                  <a:gdLst>
                    <a:gd name="T0" fmla="*/ 1367 w 1367"/>
                    <a:gd name="T1" fmla="*/ 425 h 570"/>
                    <a:gd name="T2" fmla="*/ 18 w 1367"/>
                    <a:gd name="T3" fmla="*/ 570 h 570"/>
                    <a:gd name="T4" fmla="*/ 0 w 1367"/>
                    <a:gd name="T5" fmla="*/ 58 h 570"/>
                    <a:gd name="T6" fmla="*/ 1360 w 1367"/>
                    <a:gd name="T7" fmla="*/ 0 h 570"/>
                    <a:gd name="T8" fmla="*/ 1367 w 1367"/>
                    <a:gd name="T9" fmla="*/ 425 h 5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67" h="570">
                      <a:moveTo>
                        <a:pt x="1367" y="425"/>
                      </a:moveTo>
                      <a:lnTo>
                        <a:pt x="18" y="570"/>
                      </a:lnTo>
                      <a:lnTo>
                        <a:pt x="0" y="58"/>
                      </a:lnTo>
                      <a:lnTo>
                        <a:pt x="1360" y="0"/>
                      </a:lnTo>
                      <a:lnTo>
                        <a:pt x="1367" y="425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" name="Freeform 145">
                  <a:extLst>
                    <a:ext uri="{FF2B5EF4-FFF2-40B4-BE49-F238E27FC236}">
                      <a16:creationId xmlns:a16="http://schemas.microsoft.com/office/drawing/2014/main" id="{7E206D4E-D2B7-4458-8E60-999737C37D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3429" y="4522046"/>
                  <a:ext cx="2361751" cy="341494"/>
                </a:xfrm>
                <a:custGeom>
                  <a:avLst/>
                  <a:gdLst>
                    <a:gd name="T0" fmla="*/ 0 w 1563"/>
                    <a:gd name="T1" fmla="*/ 166 h 226"/>
                    <a:gd name="T2" fmla="*/ 233 w 1563"/>
                    <a:gd name="T3" fmla="*/ 226 h 226"/>
                    <a:gd name="T4" fmla="*/ 1563 w 1563"/>
                    <a:gd name="T5" fmla="*/ 40 h 226"/>
                    <a:gd name="T6" fmla="*/ 1308 w 1563"/>
                    <a:gd name="T7" fmla="*/ 0 h 226"/>
                    <a:gd name="T8" fmla="*/ 0 w 1563"/>
                    <a:gd name="T9" fmla="*/ 166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63" h="226">
                      <a:moveTo>
                        <a:pt x="0" y="166"/>
                      </a:moveTo>
                      <a:lnTo>
                        <a:pt x="233" y="226"/>
                      </a:lnTo>
                      <a:lnTo>
                        <a:pt x="1563" y="40"/>
                      </a:lnTo>
                      <a:lnTo>
                        <a:pt x="1308" y="0"/>
                      </a:lnTo>
                      <a:lnTo>
                        <a:pt x="0" y="166"/>
                      </a:lnTo>
                      <a:close/>
                    </a:path>
                  </a:pathLst>
                </a:cu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Freeform 146">
                  <a:extLst>
                    <a:ext uri="{FF2B5EF4-FFF2-40B4-BE49-F238E27FC236}">
                      <a16:creationId xmlns:a16="http://schemas.microsoft.com/office/drawing/2014/main" id="{E9C69247-C678-4D37-8841-9D7F1F494E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3429" y="4769856"/>
                  <a:ext cx="374737" cy="843159"/>
                </a:xfrm>
                <a:custGeom>
                  <a:avLst/>
                  <a:gdLst>
                    <a:gd name="T0" fmla="*/ 248 w 248"/>
                    <a:gd name="T1" fmla="*/ 558 h 558"/>
                    <a:gd name="T2" fmla="*/ 16 w 248"/>
                    <a:gd name="T3" fmla="*/ 470 h 558"/>
                    <a:gd name="T4" fmla="*/ 0 w 248"/>
                    <a:gd name="T5" fmla="*/ 0 h 558"/>
                    <a:gd name="T6" fmla="*/ 233 w 248"/>
                    <a:gd name="T7" fmla="*/ 57 h 558"/>
                    <a:gd name="T8" fmla="*/ 248 w 248"/>
                    <a:gd name="T9" fmla="*/ 558 h 5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8" h="558">
                      <a:moveTo>
                        <a:pt x="248" y="558"/>
                      </a:moveTo>
                      <a:lnTo>
                        <a:pt x="16" y="470"/>
                      </a:lnTo>
                      <a:lnTo>
                        <a:pt x="0" y="0"/>
                      </a:lnTo>
                      <a:lnTo>
                        <a:pt x="233" y="57"/>
                      </a:lnTo>
                      <a:lnTo>
                        <a:pt x="248" y="558"/>
                      </a:lnTo>
                      <a:close/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Freeform 147">
                  <a:extLst>
                    <a:ext uri="{FF2B5EF4-FFF2-40B4-BE49-F238E27FC236}">
                      <a16:creationId xmlns:a16="http://schemas.microsoft.com/office/drawing/2014/main" id="{443E5EF2-2122-4635-9DE7-5E8F551191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7731" y="4579466"/>
                  <a:ext cx="2020257" cy="1033549"/>
                </a:xfrm>
                <a:custGeom>
                  <a:avLst/>
                  <a:gdLst>
                    <a:gd name="T0" fmla="*/ 1337 w 1337"/>
                    <a:gd name="T1" fmla="*/ 425 h 684"/>
                    <a:gd name="T2" fmla="*/ 14 w 1337"/>
                    <a:gd name="T3" fmla="*/ 684 h 684"/>
                    <a:gd name="T4" fmla="*/ 0 w 1337"/>
                    <a:gd name="T5" fmla="*/ 183 h 684"/>
                    <a:gd name="T6" fmla="*/ 1330 w 1337"/>
                    <a:gd name="T7" fmla="*/ 0 h 684"/>
                    <a:gd name="T8" fmla="*/ 1337 w 1337"/>
                    <a:gd name="T9" fmla="*/ 425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37" h="684">
                      <a:moveTo>
                        <a:pt x="1337" y="425"/>
                      </a:moveTo>
                      <a:lnTo>
                        <a:pt x="14" y="684"/>
                      </a:lnTo>
                      <a:lnTo>
                        <a:pt x="0" y="183"/>
                      </a:lnTo>
                      <a:lnTo>
                        <a:pt x="1330" y="0"/>
                      </a:lnTo>
                      <a:lnTo>
                        <a:pt x="1337" y="425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9" name="Freeform 148">
                  <a:extLst>
                    <a:ext uri="{FF2B5EF4-FFF2-40B4-BE49-F238E27FC236}">
                      <a16:creationId xmlns:a16="http://schemas.microsoft.com/office/drawing/2014/main" id="{3E995CB8-6A26-4544-B23B-2164660BC6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3429" y="4522046"/>
                  <a:ext cx="2130562" cy="303718"/>
                </a:xfrm>
                <a:custGeom>
                  <a:avLst/>
                  <a:gdLst>
                    <a:gd name="T0" fmla="*/ 1410 w 1410"/>
                    <a:gd name="T1" fmla="*/ 15 h 201"/>
                    <a:gd name="T2" fmla="*/ 1308 w 1410"/>
                    <a:gd name="T3" fmla="*/ 0 h 201"/>
                    <a:gd name="T4" fmla="*/ 0 w 1410"/>
                    <a:gd name="T5" fmla="*/ 166 h 201"/>
                    <a:gd name="T6" fmla="*/ 138 w 1410"/>
                    <a:gd name="T7" fmla="*/ 201 h 201"/>
                    <a:gd name="T8" fmla="*/ 1410 w 1410"/>
                    <a:gd name="T9" fmla="*/ 15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10" h="201">
                      <a:moveTo>
                        <a:pt x="1410" y="15"/>
                      </a:moveTo>
                      <a:lnTo>
                        <a:pt x="1308" y="0"/>
                      </a:lnTo>
                      <a:lnTo>
                        <a:pt x="0" y="166"/>
                      </a:lnTo>
                      <a:lnTo>
                        <a:pt x="138" y="201"/>
                      </a:lnTo>
                      <a:lnTo>
                        <a:pt x="1410" y="15"/>
                      </a:lnTo>
                      <a:close/>
                    </a:path>
                  </a:pathLst>
                </a:custGeom>
                <a:solidFill>
                  <a:schemeClr val="accent4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149">
                  <a:extLst>
                    <a:ext uri="{FF2B5EF4-FFF2-40B4-BE49-F238E27FC236}">
                      <a16:creationId xmlns:a16="http://schemas.microsoft.com/office/drawing/2014/main" id="{CCAE034F-A401-441B-93DD-85D4C856C2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161" y="5733898"/>
                  <a:ext cx="383803" cy="873379"/>
                </a:xfrm>
                <a:custGeom>
                  <a:avLst/>
                  <a:gdLst>
                    <a:gd name="T0" fmla="*/ 239 w 254"/>
                    <a:gd name="T1" fmla="*/ 94 h 578"/>
                    <a:gd name="T2" fmla="*/ 0 w 254"/>
                    <a:gd name="T3" fmla="*/ 0 h 578"/>
                    <a:gd name="T4" fmla="*/ 18 w 254"/>
                    <a:gd name="T5" fmla="*/ 464 h 578"/>
                    <a:gd name="T6" fmla="*/ 250 w 254"/>
                    <a:gd name="T7" fmla="*/ 578 h 578"/>
                    <a:gd name="T8" fmla="*/ 254 w 254"/>
                    <a:gd name="T9" fmla="*/ 575 h 578"/>
                    <a:gd name="T10" fmla="*/ 239 w 254"/>
                    <a:gd name="T11" fmla="*/ 94 h 5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54" h="578">
                      <a:moveTo>
                        <a:pt x="239" y="94"/>
                      </a:moveTo>
                      <a:lnTo>
                        <a:pt x="0" y="0"/>
                      </a:lnTo>
                      <a:lnTo>
                        <a:pt x="18" y="464"/>
                      </a:lnTo>
                      <a:lnTo>
                        <a:pt x="250" y="578"/>
                      </a:lnTo>
                      <a:lnTo>
                        <a:pt x="254" y="575"/>
                      </a:lnTo>
                      <a:lnTo>
                        <a:pt x="239" y="94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2" name="Freeform 150">
                  <a:extLst>
                    <a:ext uri="{FF2B5EF4-FFF2-40B4-BE49-F238E27FC236}">
                      <a16:creationId xmlns:a16="http://schemas.microsoft.com/office/drawing/2014/main" id="{7F65EA77-F314-4068-8FDA-BBF38C124F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32" y="5421114"/>
                  <a:ext cx="1997591" cy="1186163"/>
                </a:xfrm>
                <a:custGeom>
                  <a:avLst/>
                  <a:gdLst>
                    <a:gd name="T0" fmla="*/ 1322 w 1322"/>
                    <a:gd name="T1" fmla="*/ 398 h 785"/>
                    <a:gd name="T2" fmla="*/ 17 w 1322"/>
                    <a:gd name="T3" fmla="*/ 785 h 785"/>
                    <a:gd name="T4" fmla="*/ 0 w 1322"/>
                    <a:gd name="T5" fmla="*/ 298 h 785"/>
                    <a:gd name="T6" fmla="*/ 1316 w 1322"/>
                    <a:gd name="T7" fmla="*/ 0 h 785"/>
                    <a:gd name="T8" fmla="*/ 1322 w 1322"/>
                    <a:gd name="T9" fmla="*/ 398 h 7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322" h="785">
                      <a:moveTo>
                        <a:pt x="1322" y="398"/>
                      </a:moveTo>
                      <a:lnTo>
                        <a:pt x="17" y="785"/>
                      </a:lnTo>
                      <a:lnTo>
                        <a:pt x="0" y="298"/>
                      </a:lnTo>
                      <a:lnTo>
                        <a:pt x="1316" y="0"/>
                      </a:lnTo>
                      <a:lnTo>
                        <a:pt x="1322" y="398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Freeform 151">
                  <a:extLst>
                    <a:ext uri="{FF2B5EF4-FFF2-40B4-BE49-F238E27FC236}">
                      <a16:creationId xmlns:a16="http://schemas.microsoft.com/office/drawing/2014/main" id="{FACF380F-C4E0-4AED-A034-60B5BB340AA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161" y="5321385"/>
                  <a:ext cx="2339085" cy="554550"/>
                </a:xfrm>
                <a:custGeom>
                  <a:avLst/>
                  <a:gdLst>
                    <a:gd name="T0" fmla="*/ 1548 w 1548"/>
                    <a:gd name="T1" fmla="*/ 68 h 367"/>
                    <a:gd name="T2" fmla="*/ 1296 w 1548"/>
                    <a:gd name="T3" fmla="*/ 0 h 367"/>
                    <a:gd name="T4" fmla="*/ 0 w 1548"/>
                    <a:gd name="T5" fmla="*/ 273 h 367"/>
                    <a:gd name="T6" fmla="*/ 1 w 1548"/>
                    <a:gd name="T7" fmla="*/ 276 h 367"/>
                    <a:gd name="T8" fmla="*/ 233 w 1548"/>
                    <a:gd name="T9" fmla="*/ 367 h 367"/>
                    <a:gd name="T10" fmla="*/ 1548 w 1548"/>
                    <a:gd name="T11" fmla="*/ 68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548" h="367">
                      <a:moveTo>
                        <a:pt x="1548" y="68"/>
                      </a:moveTo>
                      <a:lnTo>
                        <a:pt x="1296" y="0"/>
                      </a:lnTo>
                      <a:lnTo>
                        <a:pt x="0" y="273"/>
                      </a:lnTo>
                      <a:lnTo>
                        <a:pt x="1" y="276"/>
                      </a:lnTo>
                      <a:lnTo>
                        <a:pt x="233" y="367"/>
                      </a:lnTo>
                      <a:lnTo>
                        <a:pt x="1548" y="68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Freeform 152">
                  <a:extLst>
                    <a:ext uri="{FF2B5EF4-FFF2-40B4-BE49-F238E27FC236}">
                      <a16:creationId xmlns:a16="http://schemas.microsoft.com/office/drawing/2014/main" id="{0DA37316-A795-47B5-9750-37272367EB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5161" y="5321385"/>
                  <a:ext cx="2091275" cy="507708"/>
                </a:xfrm>
                <a:custGeom>
                  <a:avLst/>
                  <a:gdLst>
                    <a:gd name="T0" fmla="*/ 1384 w 1384"/>
                    <a:gd name="T1" fmla="*/ 24 h 336"/>
                    <a:gd name="T2" fmla="*/ 1296 w 1384"/>
                    <a:gd name="T3" fmla="*/ 0 h 336"/>
                    <a:gd name="T4" fmla="*/ 0 w 1384"/>
                    <a:gd name="T5" fmla="*/ 273 h 336"/>
                    <a:gd name="T6" fmla="*/ 1 w 1384"/>
                    <a:gd name="T7" fmla="*/ 276 h 336"/>
                    <a:gd name="T8" fmla="*/ 154 w 1384"/>
                    <a:gd name="T9" fmla="*/ 336 h 336"/>
                    <a:gd name="T10" fmla="*/ 1384 w 1384"/>
                    <a:gd name="T11" fmla="*/ 24 h 3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84" h="336">
                      <a:moveTo>
                        <a:pt x="1384" y="24"/>
                      </a:moveTo>
                      <a:lnTo>
                        <a:pt x="1296" y="0"/>
                      </a:lnTo>
                      <a:lnTo>
                        <a:pt x="0" y="273"/>
                      </a:lnTo>
                      <a:lnTo>
                        <a:pt x="1" y="276"/>
                      </a:lnTo>
                      <a:lnTo>
                        <a:pt x="154" y="336"/>
                      </a:lnTo>
                      <a:lnTo>
                        <a:pt x="1384" y="24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E8EC4BD5-F2EF-46D4-AE19-C1AD5D477969}"/>
                    </a:ext>
                  </a:extLst>
                </p:cNvPr>
                <p:cNvSpPr txBox="1"/>
                <p:nvPr/>
              </p:nvSpPr>
              <p:spPr>
                <a:xfrm rot="400333">
                  <a:off x="1853654" y="2017873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84" name="TextBox 83">
                  <a:extLst>
                    <a:ext uri="{FF2B5EF4-FFF2-40B4-BE49-F238E27FC236}">
                      <a16:creationId xmlns:a16="http://schemas.microsoft.com/office/drawing/2014/main" id="{245D08C1-D7A7-49DE-A4D4-2BD2F2751C89}"/>
                    </a:ext>
                  </a:extLst>
                </p:cNvPr>
                <p:cNvSpPr txBox="1"/>
                <p:nvPr/>
              </p:nvSpPr>
              <p:spPr>
                <a:xfrm>
                  <a:off x="1861572" y="2991366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86" name="TextBox 85">
                  <a:extLst>
                    <a:ext uri="{FF2B5EF4-FFF2-40B4-BE49-F238E27FC236}">
                      <a16:creationId xmlns:a16="http://schemas.microsoft.com/office/drawing/2014/main" id="{F3832696-D720-4C29-A242-9D0A5AE8212F}"/>
                    </a:ext>
                  </a:extLst>
                </p:cNvPr>
                <p:cNvSpPr txBox="1"/>
                <p:nvPr/>
              </p:nvSpPr>
              <p:spPr>
                <a:xfrm rot="21406737">
                  <a:off x="1864908" y="3940178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0801B51C-63E5-4747-AC87-43D322B144C8}"/>
                    </a:ext>
                  </a:extLst>
                </p:cNvPr>
                <p:cNvSpPr txBox="1"/>
                <p:nvPr/>
              </p:nvSpPr>
              <p:spPr>
                <a:xfrm rot="21087441">
                  <a:off x="1899740" y="4865649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09723FB1-42A8-4237-87D4-57C8189098A5}"/>
                    </a:ext>
                  </a:extLst>
                </p:cNvPr>
                <p:cNvSpPr txBox="1"/>
                <p:nvPr/>
              </p:nvSpPr>
              <p:spPr>
                <a:xfrm rot="20607013">
                  <a:off x="1964057" y="5806442"/>
                  <a:ext cx="1672574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600" b="1" dirty="0">
                      <a:solidFill>
                        <a:schemeClr val="bg1"/>
                      </a:solidFill>
                    </a:rPr>
                    <a:t>YOUR TEXT HERE </a:t>
                  </a:r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48193D5E-839D-4BA1-A6BE-D6E8E1BD92E8}"/>
                  </a:ext>
                </a:extLst>
              </p:cNvPr>
              <p:cNvGrpSpPr/>
              <p:nvPr/>
            </p:nvGrpSpPr>
            <p:grpSpPr>
              <a:xfrm>
                <a:off x="7355989" y="1514034"/>
                <a:ext cx="2227422" cy="1182145"/>
                <a:chOff x="989351" y="1514034"/>
                <a:chExt cx="2227422" cy="1182145"/>
              </a:xfrm>
            </p:grpSpPr>
            <p:grpSp>
              <p:nvGrpSpPr>
                <p:cNvPr id="3" name="Group 2">
                  <a:extLst>
                    <a:ext uri="{FF2B5EF4-FFF2-40B4-BE49-F238E27FC236}">
                      <a16:creationId xmlns:a16="http://schemas.microsoft.com/office/drawing/2014/main" id="{05221199-CAD2-4B2D-A059-215D9420E92A}"/>
                    </a:ext>
                  </a:extLst>
                </p:cNvPr>
                <p:cNvGrpSpPr/>
                <p:nvPr/>
              </p:nvGrpSpPr>
              <p:grpSpPr>
                <a:xfrm>
                  <a:off x="1710514" y="1514034"/>
                  <a:ext cx="1506259" cy="1182145"/>
                  <a:chOff x="1710514" y="1514034"/>
                  <a:chExt cx="1506259" cy="1182145"/>
                </a:xfrm>
              </p:grpSpPr>
              <p:sp>
                <p:nvSpPr>
                  <p:cNvPr id="269" name="TextBox 268">
                    <a:extLst>
                      <a:ext uri="{FF2B5EF4-FFF2-40B4-BE49-F238E27FC236}">
                        <a16:creationId xmlns:a16="http://schemas.microsoft.com/office/drawing/2014/main" id="{9751BAA9-2201-4A94-88A1-FD37557489FB}"/>
                      </a:ext>
                    </a:extLst>
                  </p:cNvPr>
                  <p:cNvSpPr txBox="1"/>
                  <p:nvPr/>
                </p:nvSpPr>
                <p:spPr>
                  <a:xfrm>
                    <a:off x="1710514" y="1852230"/>
                    <a:ext cx="1506259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70" name="TextBox 269">
                    <a:extLst>
                      <a:ext uri="{FF2B5EF4-FFF2-40B4-BE49-F238E27FC236}">
                        <a16:creationId xmlns:a16="http://schemas.microsoft.com/office/drawing/2014/main" id="{F56B2957-8A5A-4092-9953-1B475EA3F52C}"/>
                      </a:ext>
                    </a:extLst>
                  </p:cNvPr>
                  <p:cNvSpPr txBox="1"/>
                  <p:nvPr/>
                </p:nvSpPr>
                <p:spPr>
                  <a:xfrm>
                    <a:off x="1710514" y="1514034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1"/>
                        </a:solidFill>
                      </a:rPr>
                      <a:t>Option 01</a:t>
                    </a:r>
                  </a:p>
                </p:txBody>
              </p:sp>
            </p:grpSp>
            <p:grpSp>
              <p:nvGrpSpPr>
                <p:cNvPr id="37" name="Group 36">
                  <a:extLst>
                    <a:ext uri="{FF2B5EF4-FFF2-40B4-BE49-F238E27FC236}">
                      <a16:creationId xmlns:a16="http://schemas.microsoft.com/office/drawing/2014/main" id="{2B257849-25F9-453B-82B5-11DF88A9925B}"/>
                    </a:ext>
                  </a:extLst>
                </p:cNvPr>
                <p:cNvGrpSpPr/>
                <p:nvPr/>
              </p:nvGrpSpPr>
              <p:grpSpPr>
                <a:xfrm>
                  <a:off x="989351" y="1706018"/>
                  <a:ext cx="539644" cy="539644"/>
                  <a:chOff x="900196" y="1672951"/>
                  <a:chExt cx="717954" cy="717953"/>
                </a:xfrm>
              </p:grpSpPr>
              <p:sp>
                <p:nvSpPr>
                  <p:cNvPr id="272" name="Oval 271">
                    <a:extLst>
                      <a:ext uri="{FF2B5EF4-FFF2-40B4-BE49-F238E27FC236}">
                        <a16:creationId xmlns:a16="http://schemas.microsoft.com/office/drawing/2014/main" id="{977A4300-386F-4169-A2C5-CE3F2EC8FEF9}"/>
                      </a:ext>
                    </a:extLst>
                  </p:cNvPr>
                  <p:cNvSpPr/>
                  <p:nvPr/>
                </p:nvSpPr>
                <p:spPr>
                  <a:xfrm>
                    <a:off x="900196" y="1672951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1"/>
                      </a:gs>
                      <a:gs pos="99000">
                        <a:schemeClr val="accent1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273" name="Graphic 12">
                    <a:extLst>
                      <a:ext uri="{FF2B5EF4-FFF2-40B4-BE49-F238E27FC236}">
                        <a16:creationId xmlns:a16="http://schemas.microsoft.com/office/drawing/2014/main" id="{CC274694-F56B-4B03-B18A-6A2DED33ED95}"/>
                      </a:ext>
                    </a:extLst>
                  </p:cNvPr>
                  <p:cNvGrpSpPr/>
                  <p:nvPr/>
                </p:nvGrpSpPr>
                <p:grpSpPr>
                  <a:xfrm>
                    <a:off x="1136600" y="1909354"/>
                    <a:ext cx="245146" cy="245146"/>
                    <a:chOff x="6640645" y="1724489"/>
                    <a:chExt cx="418905" cy="418905"/>
                  </a:xfrm>
                  <a:solidFill>
                    <a:schemeClr val="bg1"/>
                  </a:solidFill>
                </p:grpSpPr>
                <p:sp>
                  <p:nvSpPr>
                    <p:cNvPr id="274" name="Freeform: Shape 273">
                      <a:extLst>
                        <a:ext uri="{FF2B5EF4-FFF2-40B4-BE49-F238E27FC236}">
                          <a16:creationId xmlns:a16="http://schemas.microsoft.com/office/drawing/2014/main" id="{063D4675-B05B-4BD2-9506-0531092B7D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811107" y="1724489"/>
                      <a:ext cx="249212" cy="249212"/>
                    </a:xfrm>
                    <a:custGeom>
                      <a:avLst/>
                      <a:gdLst>
                        <a:gd name="connsiteX0" fmla="*/ 245654 w 249211"/>
                        <a:gd name="connsiteY0" fmla="*/ 176761 h 249211"/>
                        <a:gd name="connsiteX1" fmla="*/ 223446 w 249211"/>
                        <a:gd name="connsiteY1" fmla="*/ 198985 h 249211"/>
                        <a:gd name="connsiteX2" fmla="*/ 133779 w 249211"/>
                        <a:gd name="connsiteY2" fmla="*/ 211716 h 249211"/>
                        <a:gd name="connsiteX3" fmla="*/ 96250 w 249211"/>
                        <a:gd name="connsiteY3" fmla="*/ 249246 h 249211"/>
                        <a:gd name="connsiteX4" fmla="*/ 95963 w 249211"/>
                        <a:gd name="connsiteY4" fmla="*/ 248672 h 249211"/>
                        <a:gd name="connsiteX5" fmla="*/ 42358 w 249211"/>
                        <a:gd name="connsiteY5" fmla="*/ 183418 h 249211"/>
                        <a:gd name="connsiteX6" fmla="*/ 0 w 249211"/>
                        <a:gd name="connsiteY6" fmla="*/ 153020 h 249211"/>
                        <a:gd name="connsiteX7" fmla="*/ 37546 w 249211"/>
                        <a:gd name="connsiteY7" fmla="*/ 115475 h 249211"/>
                        <a:gd name="connsiteX8" fmla="*/ 50269 w 249211"/>
                        <a:gd name="connsiteY8" fmla="*/ 25816 h 249211"/>
                        <a:gd name="connsiteX9" fmla="*/ 72493 w 249211"/>
                        <a:gd name="connsiteY9" fmla="*/ 3600 h 249211"/>
                        <a:gd name="connsiteX10" fmla="*/ 89880 w 249211"/>
                        <a:gd name="connsiteY10" fmla="*/ 3600 h 249211"/>
                        <a:gd name="connsiteX11" fmla="*/ 245654 w 249211"/>
                        <a:gd name="connsiteY11" fmla="*/ 159374 h 249211"/>
                        <a:gd name="connsiteX12" fmla="*/ 245654 w 249211"/>
                        <a:gd name="connsiteY12" fmla="*/ 176761 h 24921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249211" h="249211">
                          <a:moveTo>
                            <a:pt x="245654" y="176761"/>
                          </a:moveTo>
                          <a:lnTo>
                            <a:pt x="223446" y="198985"/>
                          </a:lnTo>
                          <a:cubicBezTo>
                            <a:pt x="199779" y="222636"/>
                            <a:pt x="162996" y="227833"/>
                            <a:pt x="133779" y="211716"/>
                          </a:cubicBezTo>
                          <a:lnTo>
                            <a:pt x="96250" y="249246"/>
                          </a:lnTo>
                          <a:cubicBezTo>
                            <a:pt x="96151" y="249057"/>
                            <a:pt x="96061" y="248860"/>
                            <a:pt x="95963" y="248672"/>
                          </a:cubicBezTo>
                          <a:cubicBezTo>
                            <a:pt x="82073" y="220862"/>
                            <a:pt x="66849" y="207909"/>
                            <a:pt x="42358" y="183418"/>
                          </a:cubicBezTo>
                          <a:cubicBezTo>
                            <a:pt x="26907" y="167966"/>
                            <a:pt x="7916" y="156317"/>
                            <a:pt x="0" y="153020"/>
                          </a:cubicBezTo>
                          <a:lnTo>
                            <a:pt x="37546" y="115475"/>
                          </a:lnTo>
                          <a:cubicBezTo>
                            <a:pt x="21421" y="86291"/>
                            <a:pt x="26610" y="49483"/>
                            <a:pt x="50269" y="25816"/>
                          </a:cubicBezTo>
                          <a:lnTo>
                            <a:pt x="72493" y="3600"/>
                          </a:lnTo>
                          <a:cubicBezTo>
                            <a:pt x="77297" y="-1204"/>
                            <a:pt x="85084" y="-1196"/>
                            <a:pt x="89880" y="3600"/>
                          </a:cubicBezTo>
                          <a:lnTo>
                            <a:pt x="245654" y="159374"/>
                          </a:lnTo>
                          <a:cubicBezTo>
                            <a:pt x="250458" y="164177"/>
                            <a:pt x="250458" y="171965"/>
                            <a:pt x="245654" y="176761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75" name="Freeform: Shape 274">
                      <a:extLst>
                        <a:ext uri="{FF2B5EF4-FFF2-40B4-BE49-F238E27FC236}">
                          <a16:creationId xmlns:a16="http://schemas.microsoft.com/office/drawing/2014/main" id="{D3823BEC-AF62-46FB-A46E-E1E9F75252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4861" y="2050351"/>
                      <a:ext cx="89356" cy="89356"/>
                    </a:xfrm>
                    <a:custGeom>
                      <a:avLst/>
                      <a:gdLst>
                        <a:gd name="connsiteX0" fmla="*/ 89647 w 89355"/>
                        <a:gd name="connsiteY0" fmla="*/ 17387 h 89355"/>
                        <a:gd name="connsiteX1" fmla="*/ 20999 w 89355"/>
                        <a:gd name="connsiteY1" fmla="*/ 86035 h 89355"/>
                        <a:gd name="connsiteX2" fmla="*/ 12301 w 89355"/>
                        <a:gd name="connsiteY2" fmla="*/ 89642 h 89355"/>
                        <a:gd name="connsiteX3" fmla="*/ 3603 w 89355"/>
                        <a:gd name="connsiteY3" fmla="*/ 86035 h 89355"/>
                        <a:gd name="connsiteX4" fmla="*/ 3603 w 89355"/>
                        <a:gd name="connsiteY4" fmla="*/ 68648 h 89355"/>
                        <a:gd name="connsiteX5" fmla="*/ 72259 w 89355"/>
                        <a:gd name="connsiteY5" fmla="*/ 0 h 8935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89355" h="89355">
                          <a:moveTo>
                            <a:pt x="89647" y="17387"/>
                          </a:moveTo>
                          <a:lnTo>
                            <a:pt x="20999" y="86035"/>
                          </a:lnTo>
                          <a:cubicBezTo>
                            <a:pt x="18597" y="88437"/>
                            <a:pt x="15449" y="89642"/>
                            <a:pt x="12301" y="89642"/>
                          </a:cubicBezTo>
                          <a:cubicBezTo>
                            <a:pt x="9153" y="89642"/>
                            <a:pt x="6005" y="88437"/>
                            <a:pt x="3603" y="86035"/>
                          </a:cubicBezTo>
                          <a:cubicBezTo>
                            <a:pt x="-1201" y="81232"/>
                            <a:pt x="-1201" y="73452"/>
                            <a:pt x="3603" y="68648"/>
                          </a:cubicBezTo>
                          <a:lnTo>
                            <a:pt x="72259" y="0"/>
                          </a:ln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p:txBody>
                </p:sp>
                <p:sp>
                  <p:nvSpPr>
                    <p:cNvPr id="276" name="Freeform: Shape 275">
                      <a:extLst>
                        <a:ext uri="{FF2B5EF4-FFF2-40B4-BE49-F238E27FC236}">
                          <a16:creationId xmlns:a16="http://schemas.microsoft.com/office/drawing/2014/main" id="{EAD42319-B32C-46E4-ADAC-FC69F4F74D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640645" y="1885506"/>
                      <a:ext cx="258229" cy="258229"/>
                    </a:xfrm>
                    <a:custGeom>
                      <a:avLst/>
                      <a:gdLst>
                        <a:gd name="connsiteX0" fmla="*/ 258646 w 258229"/>
                        <a:gd name="connsiteY0" fmla="*/ 159188 h 258229"/>
                        <a:gd name="connsiteX1" fmla="*/ 218911 w 258229"/>
                        <a:gd name="connsiteY1" fmla="*/ 255110 h 258229"/>
                        <a:gd name="connsiteX2" fmla="*/ 201515 w 258229"/>
                        <a:gd name="connsiteY2" fmla="*/ 255110 h 258229"/>
                        <a:gd name="connsiteX3" fmla="*/ 3597 w 258229"/>
                        <a:gd name="connsiteY3" fmla="*/ 57183 h 258229"/>
                        <a:gd name="connsiteX4" fmla="*/ 3597 w 258229"/>
                        <a:gd name="connsiteY4" fmla="*/ 39796 h 258229"/>
                        <a:gd name="connsiteX5" fmla="*/ 160059 w 258229"/>
                        <a:gd name="connsiteY5" fmla="*/ 14284 h 258229"/>
                        <a:gd name="connsiteX6" fmla="*/ 218911 w 258229"/>
                        <a:gd name="connsiteY6" fmla="*/ 63266 h 258229"/>
                        <a:gd name="connsiteX7" fmla="*/ 258646 w 258229"/>
                        <a:gd name="connsiteY7" fmla="*/ 159188 h 25822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58229" h="258229">
                          <a:moveTo>
                            <a:pt x="258646" y="159188"/>
                          </a:moveTo>
                          <a:cubicBezTo>
                            <a:pt x="258629" y="194751"/>
                            <a:pt x="245023" y="228980"/>
                            <a:pt x="218911" y="255110"/>
                          </a:cubicBezTo>
                          <a:cubicBezTo>
                            <a:pt x="214137" y="259884"/>
                            <a:pt x="206351" y="259928"/>
                            <a:pt x="201515" y="255110"/>
                          </a:cubicBezTo>
                          <a:lnTo>
                            <a:pt x="3597" y="57183"/>
                          </a:lnTo>
                          <a:cubicBezTo>
                            <a:pt x="-1189" y="52397"/>
                            <a:pt x="-1209" y="44602"/>
                            <a:pt x="3597" y="39796"/>
                          </a:cubicBezTo>
                          <a:cubicBezTo>
                            <a:pt x="44922" y="-1529"/>
                            <a:pt x="107799" y="-11784"/>
                            <a:pt x="160059" y="14284"/>
                          </a:cubicBezTo>
                          <a:cubicBezTo>
                            <a:pt x="183785" y="26133"/>
                            <a:pt x="194326" y="38689"/>
                            <a:pt x="218911" y="63266"/>
                          </a:cubicBezTo>
                          <a:cubicBezTo>
                            <a:pt x="244534" y="88889"/>
                            <a:pt x="258646" y="123226"/>
                            <a:pt x="258646" y="159188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>
                        <a:solidFill>
                          <a:schemeClr val="bg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9E7DCA6-3185-4710-82C4-0A2D81863E2B}"/>
                  </a:ext>
                </a:extLst>
              </p:cNvPr>
              <p:cNvGrpSpPr/>
              <p:nvPr/>
            </p:nvGrpSpPr>
            <p:grpSpPr>
              <a:xfrm>
                <a:off x="2117415" y="2525085"/>
                <a:ext cx="2215778" cy="1182145"/>
                <a:chOff x="985659" y="2525085"/>
                <a:chExt cx="2215778" cy="1182145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id="{0A0CE18B-3452-48D8-AE2E-A6BD52BC8884}"/>
                    </a:ext>
                  </a:extLst>
                </p:cNvPr>
                <p:cNvGrpSpPr/>
                <p:nvPr/>
              </p:nvGrpSpPr>
              <p:grpSpPr>
                <a:xfrm>
                  <a:off x="1706822" y="2525085"/>
                  <a:ext cx="1494615" cy="1182145"/>
                  <a:chOff x="1706822" y="2515774"/>
                  <a:chExt cx="1494615" cy="1182145"/>
                </a:xfrm>
              </p:grpSpPr>
              <p:sp>
                <p:nvSpPr>
                  <p:cNvPr id="277" name="TextBox 276">
                    <a:extLst>
                      <a:ext uri="{FF2B5EF4-FFF2-40B4-BE49-F238E27FC236}">
                        <a16:creationId xmlns:a16="http://schemas.microsoft.com/office/drawing/2014/main" id="{32E939D3-A02F-4371-8CDC-1C59456D0E2D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3" y="2853970"/>
                    <a:ext cx="1494614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78" name="TextBox 277">
                    <a:extLst>
                      <a:ext uri="{FF2B5EF4-FFF2-40B4-BE49-F238E27FC236}">
                        <a16:creationId xmlns:a16="http://schemas.microsoft.com/office/drawing/2014/main" id="{17930152-E4AB-4B4B-BEB4-7B09132C053D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2515774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2"/>
                        </a:solidFill>
                      </a:rPr>
                      <a:t>Option 02</a:t>
                    </a:r>
                  </a:p>
                </p:txBody>
              </p:sp>
            </p:grp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71EF2B04-434B-451F-ABB4-7228D19107A7}"/>
                    </a:ext>
                  </a:extLst>
                </p:cNvPr>
                <p:cNvGrpSpPr/>
                <p:nvPr/>
              </p:nvGrpSpPr>
              <p:grpSpPr>
                <a:xfrm>
                  <a:off x="985659" y="2717069"/>
                  <a:ext cx="539644" cy="539644"/>
                  <a:chOff x="896504" y="2674691"/>
                  <a:chExt cx="717954" cy="717953"/>
                </a:xfrm>
              </p:grpSpPr>
              <p:sp>
                <p:nvSpPr>
                  <p:cNvPr id="279" name="Oval 278">
                    <a:extLst>
                      <a:ext uri="{FF2B5EF4-FFF2-40B4-BE49-F238E27FC236}">
                        <a16:creationId xmlns:a16="http://schemas.microsoft.com/office/drawing/2014/main" id="{34BF8A8E-B4B4-4BDF-BE67-332DE2BA037D}"/>
                      </a:ext>
                    </a:extLst>
                  </p:cNvPr>
                  <p:cNvSpPr/>
                  <p:nvPr/>
                </p:nvSpPr>
                <p:spPr>
                  <a:xfrm>
                    <a:off x="896504" y="2674691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2"/>
                      </a:gs>
                      <a:gs pos="99000">
                        <a:schemeClr val="accent2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sp>
                <p:nvSpPr>
                  <p:cNvPr id="280" name="Graphic 14">
                    <a:extLst>
                      <a:ext uri="{FF2B5EF4-FFF2-40B4-BE49-F238E27FC236}">
                        <a16:creationId xmlns:a16="http://schemas.microsoft.com/office/drawing/2014/main" id="{4B1404EA-778A-4874-9F5C-624ABB31CA50}"/>
                      </a:ext>
                    </a:extLst>
                  </p:cNvPr>
                  <p:cNvSpPr/>
                  <p:nvPr/>
                </p:nvSpPr>
                <p:spPr>
                  <a:xfrm>
                    <a:off x="1117357" y="2892250"/>
                    <a:ext cx="282834" cy="282834"/>
                  </a:xfrm>
                  <a:custGeom>
                    <a:avLst/>
                    <a:gdLst>
                      <a:gd name="connsiteX0" fmla="*/ 266895 w 419725"/>
                      <a:gd name="connsiteY0" fmla="*/ 0 h 419725"/>
                      <a:gd name="connsiteX1" fmla="*/ 114065 w 419725"/>
                      <a:gd name="connsiteY1" fmla="*/ 152823 h 419725"/>
                      <a:gd name="connsiteX2" fmla="*/ 150487 w 419725"/>
                      <a:gd name="connsiteY2" fmla="*/ 251851 h 419725"/>
                      <a:gd name="connsiteX3" fmla="*/ 126369 w 419725"/>
                      <a:gd name="connsiteY3" fmla="*/ 275977 h 419725"/>
                      <a:gd name="connsiteX4" fmla="*/ 117672 w 419725"/>
                      <a:gd name="connsiteY4" fmla="*/ 267271 h 419725"/>
                      <a:gd name="connsiteX5" fmla="*/ 100284 w 419725"/>
                      <a:gd name="connsiteY5" fmla="*/ 267271 h 419725"/>
                      <a:gd name="connsiteX6" fmla="*/ 3600 w 419725"/>
                      <a:gd name="connsiteY6" fmla="*/ 363956 h 419725"/>
                      <a:gd name="connsiteX7" fmla="*/ 3600 w 419725"/>
                      <a:gd name="connsiteY7" fmla="*/ 381343 h 419725"/>
                      <a:gd name="connsiteX8" fmla="*/ 38383 w 419725"/>
                      <a:gd name="connsiteY8" fmla="*/ 416126 h 419725"/>
                      <a:gd name="connsiteX9" fmla="*/ 55770 w 419725"/>
                      <a:gd name="connsiteY9" fmla="*/ 416126 h 419725"/>
                      <a:gd name="connsiteX10" fmla="*/ 152446 w 419725"/>
                      <a:gd name="connsiteY10" fmla="*/ 319442 h 419725"/>
                      <a:gd name="connsiteX11" fmla="*/ 152446 w 419725"/>
                      <a:gd name="connsiteY11" fmla="*/ 302054 h 419725"/>
                      <a:gd name="connsiteX12" fmla="*/ 143757 w 419725"/>
                      <a:gd name="connsiteY12" fmla="*/ 293365 h 419725"/>
                      <a:gd name="connsiteX13" fmla="*/ 167875 w 419725"/>
                      <a:gd name="connsiteY13" fmla="*/ 269239 h 419725"/>
                      <a:gd name="connsiteX14" fmla="*/ 266895 w 419725"/>
                      <a:gd name="connsiteY14" fmla="*/ 305661 h 419725"/>
                      <a:gd name="connsiteX15" fmla="*/ 419726 w 419725"/>
                      <a:gd name="connsiteY15" fmla="*/ 152823 h 419725"/>
                      <a:gd name="connsiteX16" fmla="*/ 266895 w 419725"/>
                      <a:gd name="connsiteY16" fmla="*/ 0 h 419725"/>
                      <a:gd name="connsiteX17" fmla="*/ 266895 w 419725"/>
                      <a:gd name="connsiteY17" fmla="*/ 73780 h 419725"/>
                      <a:gd name="connsiteX18" fmla="*/ 187844 w 419725"/>
                      <a:gd name="connsiteY18" fmla="*/ 152831 h 419725"/>
                      <a:gd name="connsiteX19" fmla="*/ 175548 w 419725"/>
                      <a:gd name="connsiteY19" fmla="*/ 165127 h 419725"/>
                      <a:gd name="connsiteX20" fmla="*/ 163251 w 419725"/>
                      <a:gd name="connsiteY20" fmla="*/ 152831 h 419725"/>
                      <a:gd name="connsiteX21" fmla="*/ 266895 w 419725"/>
                      <a:gd name="connsiteY21" fmla="*/ 49187 h 419725"/>
                      <a:gd name="connsiteX22" fmla="*/ 279192 w 419725"/>
                      <a:gd name="connsiteY22" fmla="*/ 61483 h 419725"/>
                      <a:gd name="connsiteX23" fmla="*/ 266895 w 419725"/>
                      <a:gd name="connsiteY23" fmla="*/ 73780 h 4197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419725" h="419725">
                        <a:moveTo>
                          <a:pt x="266895" y="0"/>
                        </a:moveTo>
                        <a:cubicBezTo>
                          <a:pt x="182622" y="0"/>
                          <a:pt x="114065" y="68558"/>
                          <a:pt x="114065" y="152823"/>
                        </a:cubicBezTo>
                        <a:cubicBezTo>
                          <a:pt x="114065" y="189614"/>
                          <a:pt x="127066" y="224299"/>
                          <a:pt x="150487" y="251851"/>
                        </a:cubicBezTo>
                        <a:lnTo>
                          <a:pt x="126369" y="275977"/>
                        </a:lnTo>
                        <a:lnTo>
                          <a:pt x="117672" y="267271"/>
                        </a:lnTo>
                        <a:cubicBezTo>
                          <a:pt x="112868" y="262476"/>
                          <a:pt x="105080" y="262476"/>
                          <a:pt x="100284" y="267271"/>
                        </a:cubicBezTo>
                        <a:lnTo>
                          <a:pt x="3600" y="363956"/>
                        </a:lnTo>
                        <a:cubicBezTo>
                          <a:pt x="-1196" y="368751"/>
                          <a:pt x="-1204" y="376539"/>
                          <a:pt x="3600" y="381343"/>
                        </a:cubicBezTo>
                        <a:lnTo>
                          <a:pt x="38383" y="416126"/>
                        </a:lnTo>
                        <a:cubicBezTo>
                          <a:pt x="43187" y="420922"/>
                          <a:pt x="50966" y="420930"/>
                          <a:pt x="55770" y="416126"/>
                        </a:cubicBezTo>
                        <a:lnTo>
                          <a:pt x="152446" y="319442"/>
                        </a:lnTo>
                        <a:cubicBezTo>
                          <a:pt x="157250" y="314646"/>
                          <a:pt x="157250" y="306858"/>
                          <a:pt x="152446" y="302054"/>
                        </a:cubicBezTo>
                        <a:lnTo>
                          <a:pt x="143757" y="293365"/>
                        </a:lnTo>
                        <a:lnTo>
                          <a:pt x="167875" y="269239"/>
                        </a:lnTo>
                        <a:cubicBezTo>
                          <a:pt x="195493" y="292717"/>
                          <a:pt x="230202" y="305661"/>
                          <a:pt x="266895" y="305661"/>
                        </a:cubicBezTo>
                        <a:cubicBezTo>
                          <a:pt x="351168" y="305661"/>
                          <a:pt x="419726" y="237104"/>
                          <a:pt x="419726" y="152823"/>
                        </a:cubicBezTo>
                        <a:cubicBezTo>
                          <a:pt x="419726" y="68558"/>
                          <a:pt x="351168" y="0"/>
                          <a:pt x="266895" y="0"/>
                        </a:cubicBezTo>
                        <a:close/>
                        <a:moveTo>
                          <a:pt x="266895" y="73780"/>
                        </a:moveTo>
                        <a:cubicBezTo>
                          <a:pt x="223308" y="73780"/>
                          <a:pt x="187844" y="109243"/>
                          <a:pt x="187844" y="152831"/>
                        </a:cubicBezTo>
                        <a:cubicBezTo>
                          <a:pt x="187844" y="159618"/>
                          <a:pt x="182335" y="165127"/>
                          <a:pt x="175548" y="165127"/>
                        </a:cubicBezTo>
                        <a:cubicBezTo>
                          <a:pt x="168752" y="165127"/>
                          <a:pt x="163251" y="159618"/>
                          <a:pt x="163251" y="152831"/>
                        </a:cubicBezTo>
                        <a:cubicBezTo>
                          <a:pt x="163251" y="95684"/>
                          <a:pt x="209749" y="49187"/>
                          <a:pt x="266895" y="49187"/>
                        </a:cubicBezTo>
                        <a:cubicBezTo>
                          <a:pt x="273683" y="49187"/>
                          <a:pt x="279192" y="54695"/>
                          <a:pt x="279192" y="61483"/>
                        </a:cubicBezTo>
                        <a:cubicBezTo>
                          <a:pt x="279192" y="68271"/>
                          <a:pt x="273683" y="73780"/>
                          <a:pt x="266895" y="7378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37E76A7-7B06-44B9-83B1-7F2C03B07D91}"/>
                  </a:ext>
                </a:extLst>
              </p:cNvPr>
              <p:cNvGrpSpPr/>
              <p:nvPr/>
            </p:nvGrpSpPr>
            <p:grpSpPr>
              <a:xfrm>
                <a:off x="7355989" y="3514486"/>
                <a:ext cx="2227422" cy="1182145"/>
                <a:chOff x="985659" y="3514486"/>
                <a:chExt cx="2227422" cy="1182145"/>
              </a:xfrm>
            </p:grpSpPr>
            <p:grpSp>
              <p:nvGrpSpPr>
                <p:cNvPr id="5" name="Group 4">
                  <a:extLst>
                    <a:ext uri="{FF2B5EF4-FFF2-40B4-BE49-F238E27FC236}">
                      <a16:creationId xmlns:a16="http://schemas.microsoft.com/office/drawing/2014/main" id="{271F9A35-ACE0-4FDD-B40F-38B4EC88EB87}"/>
                    </a:ext>
                  </a:extLst>
                </p:cNvPr>
                <p:cNvGrpSpPr/>
                <p:nvPr/>
              </p:nvGrpSpPr>
              <p:grpSpPr>
                <a:xfrm>
                  <a:off x="1706822" y="3514486"/>
                  <a:ext cx="1506259" cy="1182145"/>
                  <a:chOff x="1706822" y="3514125"/>
                  <a:chExt cx="1506259" cy="1182145"/>
                </a:xfrm>
              </p:grpSpPr>
              <p:sp>
                <p:nvSpPr>
                  <p:cNvPr id="285" name="TextBox 284">
                    <a:extLst>
                      <a:ext uri="{FF2B5EF4-FFF2-40B4-BE49-F238E27FC236}">
                        <a16:creationId xmlns:a16="http://schemas.microsoft.com/office/drawing/2014/main" id="{6C8B12E2-A1A1-49F8-9E61-5A66FC1968B6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3852321"/>
                    <a:ext cx="1506259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86" name="TextBox 285">
                    <a:extLst>
                      <a:ext uri="{FF2B5EF4-FFF2-40B4-BE49-F238E27FC236}">
                        <a16:creationId xmlns:a16="http://schemas.microsoft.com/office/drawing/2014/main" id="{567835C9-5AD1-41F6-BB6F-5D69A54C2369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3514125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3"/>
                        </a:solidFill>
                      </a:rPr>
                      <a:t>Option 03</a:t>
                    </a:r>
                  </a:p>
                </p:txBody>
              </p:sp>
            </p:grp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0CB2E7C1-C3F5-4349-8C7A-3AD7973B71CB}"/>
                    </a:ext>
                  </a:extLst>
                </p:cNvPr>
                <p:cNvGrpSpPr/>
                <p:nvPr/>
              </p:nvGrpSpPr>
              <p:grpSpPr>
                <a:xfrm>
                  <a:off x="985659" y="3706470"/>
                  <a:ext cx="539644" cy="539644"/>
                  <a:chOff x="896504" y="3673042"/>
                  <a:chExt cx="717954" cy="717953"/>
                </a:xfrm>
              </p:grpSpPr>
              <p:sp>
                <p:nvSpPr>
                  <p:cNvPr id="287" name="Oval 286">
                    <a:extLst>
                      <a:ext uri="{FF2B5EF4-FFF2-40B4-BE49-F238E27FC236}">
                        <a16:creationId xmlns:a16="http://schemas.microsoft.com/office/drawing/2014/main" id="{70BD66D1-C95D-47F1-93D3-9BE51D4A273C}"/>
                      </a:ext>
                    </a:extLst>
                  </p:cNvPr>
                  <p:cNvSpPr/>
                  <p:nvPr/>
                </p:nvSpPr>
                <p:spPr>
                  <a:xfrm>
                    <a:off x="896504" y="3673042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3"/>
                      </a:gs>
                      <a:gs pos="99000">
                        <a:schemeClr val="accent3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288" name="Graphic 40">
                    <a:extLst>
                      <a:ext uri="{FF2B5EF4-FFF2-40B4-BE49-F238E27FC236}">
                        <a16:creationId xmlns:a16="http://schemas.microsoft.com/office/drawing/2014/main" id="{A2ABE05D-A3E1-4E69-9B99-9804E866A56A}"/>
                      </a:ext>
                    </a:extLst>
                  </p:cNvPr>
                  <p:cNvGrpSpPr/>
                  <p:nvPr/>
                </p:nvGrpSpPr>
                <p:grpSpPr>
                  <a:xfrm>
                    <a:off x="1147675" y="3883639"/>
                    <a:ext cx="215612" cy="296758"/>
                    <a:chOff x="4074593" y="1724490"/>
                    <a:chExt cx="304956" cy="419725"/>
                  </a:xfrm>
                  <a:solidFill>
                    <a:schemeClr val="bg1"/>
                  </a:solidFill>
                </p:grpSpPr>
                <p:sp>
                  <p:nvSpPr>
                    <p:cNvPr id="289" name="Freeform: Shape 288">
                      <a:extLst>
                        <a:ext uri="{FF2B5EF4-FFF2-40B4-BE49-F238E27FC236}">
                          <a16:creationId xmlns:a16="http://schemas.microsoft.com/office/drawing/2014/main" id="{1B472C8B-97F6-4B6C-A602-CF6655390D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74593" y="1922056"/>
                      <a:ext cx="304956" cy="222159"/>
                    </a:xfrm>
                    <a:custGeom>
                      <a:avLst/>
                      <a:gdLst>
                        <a:gd name="connsiteX0" fmla="*/ 292971 w 304956"/>
                        <a:gd name="connsiteY0" fmla="*/ 0 h 222159"/>
                        <a:gd name="connsiteX1" fmla="*/ 12297 w 304956"/>
                        <a:gd name="connsiteY1" fmla="*/ 0 h 222159"/>
                        <a:gd name="connsiteX2" fmla="*/ 0 w 304956"/>
                        <a:gd name="connsiteY2" fmla="*/ 12297 h 222159"/>
                        <a:gd name="connsiteX3" fmla="*/ 0 w 304956"/>
                        <a:gd name="connsiteY3" fmla="*/ 141690 h 222159"/>
                        <a:gd name="connsiteX4" fmla="*/ 80477 w 304956"/>
                        <a:gd name="connsiteY4" fmla="*/ 222159 h 222159"/>
                        <a:gd name="connsiteX5" fmla="*/ 224799 w 304956"/>
                        <a:gd name="connsiteY5" fmla="*/ 222159 h 222159"/>
                        <a:gd name="connsiteX6" fmla="*/ 305268 w 304956"/>
                        <a:gd name="connsiteY6" fmla="*/ 141690 h 222159"/>
                        <a:gd name="connsiteX7" fmla="*/ 305268 w 304956"/>
                        <a:gd name="connsiteY7" fmla="*/ 12297 h 222159"/>
                        <a:gd name="connsiteX8" fmla="*/ 292971 w 304956"/>
                        <a:gd name="connsiteY8" fmla="*/ 0 h 222159"/>
                        <a:gd name="connsiteX9" fmla="*/ 171735 w 304956"/>
                        <a:gd name="connsiteY9" fmla="*/ 104275 h 222159"/>
                        <a:gd name="connsiteX10" fmla="*/ 164931 w 304956"/>
                        <a:gd name="connsiteY10" fmla="*/ 104275 h 222159"/>
                        <a:gd name="connsiteX11" fmla="*/ 164931 w 304956"/>
                        <a:gd name="connsiteY11" fmla="*/ 130180 h 222159"/>
                        <a:gd name="connsiteX12" fmla="*/ 152634 w 304956"/>
                        <a:gd name="connsiteY12" fmla="*/ 142477 h 222159"/>
                        <a:gd name="connsiteX13" fmla="*/ 140337 w 304956"/>
                        <a:gd name="connsiteY13" fmla="*/ 130180 h 222159"/>
                        <a:gd name="connsiteX14" fmla="*/ 140337 w 304956"/>
                        <a:gd name="connsiteY14" fmla="*/ 104275 h 222159"/>
                        <a:gd name="connsiteX15" fmla="*/ 133533 w 304956"/>
                        <a:gd name="connsiteY15" fmla="*/ 104275 h 222159"/>
                        <a:gd name="connsiteX16" fmla="*/ 121237 w 304956"/>
                        <a:gd name="connsiteY16" fmla="*/ 91979 h 222159"/>
                        <a:gd name="connsiteX17" fmla="*/ 133533 w 304956"/>
                        <a:gd name="connsiteY17" fmla="*/ 79682 h 222159"/>
                        <a:gd name="connsiteX18" fmla="*/ 171735 w 304956"/>
                        <a:gd name="connsiteY18" fmla="*/ 79682 h 222159"/>
                        <a:gd name="connsiteX19" fmla="*/ 184031 w 304956"/>
                        <a:gd name="connsiteY19" fmla="*/ 91979 h 222159"/>
                        <a:gd name="connsiteX20" fmla="*/ 171735 w 304956"/>
                        <a:gd name="connsiteY20" fmla="*/ 104275 h 2221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</a:cxnLst>
                      <a:rect l="l" t="t" r="r" b="b"/>
                      <a:pathLst>
                        <a:path w="304956" h="222159">
                          <a:moveTo>
                            <a:pt x="292971" y="0"/>
                          </a:moveTo>
                          <a:lnTo>
                            <a:pt x="12297" y="0"/>
                          </a:lnTo>
                          <a:cubicBezTo>
                            <a:pt x="5509" y="0"/>
                            <a:pt x="0" y="5509"/>
                            <a:pt x="0" y="12297"/>
                          </a:cubicBezTo>
                          <a:lnTo>
                            <a:pt x="0" y="141690"/>
                          </a:lnTo>
                          <a:cubicBezTo>
                            <a:pt x="0" y="186056"/>
                            <a:pt x="36103" y="222159"/>
                            <a:pt x="80477" y="222159"/>
                          </a:cubicBezTo>
                          <a:lnTo>
                            <a:pt x="224799" y="222159"/>
                          </a:lnTo>
                          <a:cubicBezTo>
                            <a:pt x="269165" y="222159"/>
                            <a:pt x="305268" y="186056"/>
                            <a:pt x="305268" y="141690"/>
                          </a:cubicBezTo>
                          <a:lnTo>
                            <a:pt x="305268" y="12297"/>
                          </a:lnTo>
                          <a:cubicBezTo>
                            <a:pt x="305268" y="5509"/>
                            <a:pt x="299759" y="0"/>
                            <a:pt x="292971" y="0"/>
                          </a:cubicBezTo>
                          <a:close/>
                          <a:moveTo>
                            <a:pt x="171735" y="104275"/>
                          </a:moveTo>
                          <a:lnTo>
                            <a:pt x="164931" y="104275"/>
                          </a:lnTo>
                          <a:lnTo>
                            <a:pt x="164931" y="130180"/>
                          </a:lnTo>
                          <a:cubicBezTo>
                            <a:pt x="164931" y="136976"/>
                            <a:pt x="159422" y="142477"/>
                            <a:pt x="152634" y="142477"/>
                          </a:cubicBezTo>
                          <a:cubicBezTo>
                            <a:pt x="145846" y="142477"/>
                            <a:pt x="140337" y="136976"/>
                            <a:pt x="140337" y="130180"/>
                          </a:cubicBezTo>
                          <a:lnTo>
                            <a:pt x="140337" y="104275"/>
                          </a:lnTo>
                          <a:lnTo>
                            <a:pt x="133533" y="104275"/>
                          </a:lnTo>
                          <a:cubicBezTo>
                            <a:pt x="126737" y="104275"/>
                            <a:pt x="121237" y="98767"/>
                            <a:pt x="121237" y="91979"/>
                          </a:cubicBezTo>
                          <a:cubicBezTo>
                            <a:pt x="121237" y="85183"/>
                            <a:pt x="126737" y="79682"/>
                            <a:pt x="133533" y="79682"/>
                          </a:cubicBezTo>
                          <a:lnTo>
                            <a:pt x="171735" y="79682"/>
                          </a:lnTo>
                          <a:cubicBezTo>
                            <a:pt x="178531" y="79682"/>
                            <a:pt x="184031" y="85183"/>
                            <a:pt x="184031" y="91979"/>
                          </a:cubicBezTo>
                          <a:cubicBezTo>
                            <a:pt x="184031" y="98767"/>
                            <a:pt x="178531" y="104275"/>
                            <a:pt x="171735" y="104275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90" name="Freeform: Shape 289">
                      <a:extLst>
                        <a:ext uri="{FF2B5EF4-FFF2-40B4-BE49-F238E27FC236}">
                          <a16:creationId xmlns:a16="http://schemas.microsoft.com/office/drawing/2014/main" id="{4945565E-39BF-4699-A4F9-8933DD1348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99186" y="1724490"/>
                      <a:ext cx="255770" cy="172973"/>
                    </a:xfrm>
                    <a:custGeom>
                      <a:avLst/>
                      <a:gdLst>
                        <a:gd name="connsiteX0" fmla="*/ 128041 w 255769"/>
                        <a:gd name="connsiteY0" fmla="*/ 0 h 172972"/>
                        <a:gd name="connsiteX1" fmla="*/ 0 w 255769"/>
                        <a:gd name="connsiteY1" fmla="*/ 128041 h 172972"/>
                        <a:gd name="connsiteX2" fmla="*/ 0 w 255769"/>
                        <a:gd name="connsiteY2" fmla="*/ 172973 h 172972"/>
                        <a:gd name="connsiteX3" fmla="*/ 24593 w 255769"/>
                        <a:gd name="connsiteY3" fmla="*/ 172973 h 172972"/>
                        <a:gd name="connsiteX4" fmla="*/ 24593 w 255769"/>
                        <a:gd name="connsiteY4" fmla="*/ 128041 h 172972"/>
                        <a:gd name="connsiteX5" fmla="*/ 128041 w 255769"/>
                        <a:gd name="connsiteY5" fmla="*/ 24593 h 172972"/>
                        <a:gd name="connsiteX6" fmla="*/ 231488 w 255769"/>
                        <a:gd name="connsiteY6" fmla="*/ 128041 h 172972"/>
                        <a:gd name="connsiteX7" fmla="*/ 231488 w 255769"/>
                        <a:gd name="connsiteY7" fmla="*/ 172973 h 172972"/>
                        <a:gd name="connsiteX8" fmla="*/ 256081 w 255769"/>
                        <a:gd name="connsiteY8" fmla="*/ 172973 h 172972"/>
                        <a:gd name="connsiteX9" fmla="*/ 256081 w 255769"/>
                        <a:gd name="connsiteY9" fmla="*/ 128041 h 172972"/>
                        <a:gd name="connsiteX10" fmla="*/ 128041 w 255769"/>
                        <a:gd name="connsiteY10" fmla="*/ 0 h 17297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255769" h="172972">
                          <a:moveTo>
                            <a:pt x="128041" y="0"/>
                          </a:moveTo>
                          <a:cubicBezTo>
                            <a:pt x="57442" y="0"/>
                            <a:pt x="0" y="57442"/>
                            <a:pt x="0" y="128041"/>
                          </a:cubicBezTo>
                          <a:lnTo>
                            <a:pt x="0" y="172973"/>
                          </a:lnTo>
                          <a:lnTo>
                            <a:pt x="24593" y="172973"/>
                          </a:lnTo>
                          <a:lnTo>
                            <a:pt x="24593" y="128041"/>
                          </a:lnTo>
                          <a:cubicBezTo>
                            <a:pt x="24593" y="71001"/>
                            <a:pt x="71001" y="24593"/>
                            <a:pt x="128041" y="24593"/>
                          </a:cubicBezTo>
                          <a:cubicBezTo>
                            <a:pt x="185081" y="24593"/>
                            <a:pt x="231488" y="71001"/>
                            <a:pt x="231488" y="128041"/>
                          </a:cubicBezTo>
                          <a:lnTo>
                            <a:pt x="231488" y="172973"/>
                          </a:lnTo>
                          <a:lnTo>
                            <a:pt x="256081" y="172973"/>
                          </a:lnTo>
                          <a:lnTo>
                            <a:pt x="256081" y="128041"/>
                          </a:lnTo>
                          <a:cubicBezTo>
                            <a:pt x="256081" y="57442"/>
                            <a:pt x="198640" y="0"/>
                            <a:pt x="128041" y="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dirty="0"/>
                    </a:p>
                  </p:txBody>
                </p:sp>
              </p:grpSp>
            </p:grp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8AF4CDB-2B41-49F4-82E1-15E65FEB8E07}"/>
                  </a:ext>
                </a:extLst>
              </p:cNvPr>
              <p:cNvGrpSpPr/>
              <p:nvPr/>
            </p:nvGrpSpPr>
            <p:grpSpPr>
              <a:xfrm>
                <a:off x="2225452" y="4515371"/>
                <a:ext cx="2215778" cy="1182145"/>
                <a:chOff x="985659" y="4515371"/>
                <a:chExt cx="2215778" cy="1182145"/>
              </a:xfrm>
            </p:grpSpPr>
            <p:grpSp>
              <p:nvGrpSpPr>
                <p:cNvPr id="18" name="Group 17">
                  <a:extLst>
                    <a:ext uri="{FF2B5EF4-FFF2-40B4-BE49-F238E27FC236}">
                      <a16:creationId xmlns:a16="http://schemas.microsoft.com/office/drawing/2014/main" id="{9EC39FAD-61B3-4B00-933B-4D0EFE9121A6}"/>
                    </a:ext>
                  </a:extLst>
                </p:cNvPr>
                <p:cNvGrpSpPr/>
                <p:nvPr/>
              </p:nvGrpSpPr>
              <p:grpSpPr>
                <a:xfrm>
                  <a:off x="1706822" y="4515371"/>
                  <a:ext cx="1494615" cy="1182145"/>
                  <a:chOff x="1706822" y="4481013"/>
                  <a:chExt cx="1494615" cy="1182145"/>
                </a:xfrm>
              </p:grpSpPr>
              <p:sp>
                <p:nvSpPr>
                  <p:cNvPr id="292" name="TextBox 291">
                    <a:extLst>
                      <a:ext uri="{FF2B5EF4-FFF2-40B4-BE49-F238E27FC236}">
                        <a16:creationId xmlns:a16="http://schemas.microsoft.com/office/drawing/2014/main" id="{93BDA79E-4F5C-467E-A219-8DE8E7B8787A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3" y="4819209"/>
                    <a:ext cx="1494614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293" name="TextBox 292">
                    <a:extLst>
                      <a:ext uri="{FF2B5EF4-FFF2-40B4-BE49-F238E27FC236}">
                        <a16:creationId xmlns:a16="http://schemas.microsoft.com/office/drawing/2014/main" id="{93A25432-B9B6-4A1A-912F-CA7343E1C3C3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4481013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4"/>
                        </a:solidFill>
                      </a:rPr>
                      <a:t>Option 04</a:t>
                    </a:r>
                  </a:p>
                </p:txBody>
              </p:sp>
            </p:grp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9944B1C5-D31B-4072-A11E-E58F5C607167}"/>
                    </a:ext>
                  </a:extLst>
                </p:cNvPr>
                <p:cNvGrpSpPr/>
                <p:nvPr/>
              </p:nvGrpSpPr>
              <p:grpSpPr>
                <a:xfrm>
                  <a:off x="985659" y="4707355"/>
                  <a:ext cx="539644" cy="539644"/>
                  <a:chOff x="896504" y="4639930"/>
                  <a:chExt cx="717954" cy="717953"/>
                </a:xfrm>
              </p:grpSpPr>
              <p:sp>
                <p:nvSpPr>
                  <p:cNvPr id="294" name="Oval 293">
                    <a:extLst>
                      <a:ext uri="{FF2B5EF4-FFF2-40B4-BE49-F238E27FC236}">
                        <a16:creationId xmlns:a16="http://schemas.microsoft.com/office/drawing/2014/main" id="{A1ED2F99-5BE9-425C-AC10-43F2C9A03AAC}"/>
                      </a:ext>
                    </a:extLst>
                  </p:cNvPr>
                  <p:cNvSpPr/>
                  <p:nvPr/>
                </p:nvSpPr>
                <p:spPr>
                  <a:xfrm>
                    <a:off x="896504" y="4639930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4"/>
                      </a:gs>
                      <a:gs pos="99000">
                        <a:schemeClr val="accent4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 dirty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295" name="Graphic 94">
                    <a:extLst>
                      <a:ext uri="{FF2B5EF4-FFF2-40B4-BE49-F238E27FC236}">
                        <a16:creationId xmlns:a16="http://schemas.microsoft.com/office/drawing/2014/main" id="{8EF9B51E-64F9-41E3-B837-7F6E91E887D9}"/>
                      </a:ext>
                    </a:extLst>
                  </p:cNvPr>
                  <p:cNvGrpSpPr/>
                  <p:nvPr/>
                </p:nvGrpSpPr>
                <p:grpSpPr>
                  <a:xfrm>
                    <a:off x="1086794" y="4830548"/>
                    <a:ext cx="337374" cy="336716"/>
                    <a:chOff x="2083633" y="256705"/>
                    <a:chExt cx="419725" cy="418905"/>
                  </a:xfrm>
                  <a:solidFill>
                    <a:schemeClr val="bg1"/>
                  </a:solidFill>
                </p:grpSpPr>
                <p:sp>
                  <p:nvSpPr>
                    <p:cNvPr id="296" name="Freeform: Shape 295">
                      <a:extLst>
                        <a:ext uri="{FF2B5EF4-FFF2-40B4-BE49-F238E27FC236}">
                          <a16:creationId xmlns:a16="http://schemas.microsoft.com/office/drawing/2014/main" id="{A9F84DD9-0B17-47AB-A8FB-7125D2E3B4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083633" y="306563"/>
                      <a:ext cx="196746" cy="306596"/>
                    </a:xfrm>
                    <a:custGeom>
                      <a:avLst/>
                      <a:gdLst>
                        <a:gd name="connsiteX0" fmla="*/ 184933 w 196746"/>
                        <a:gd name="connsiteY0" fmla="*/ 0 h 306595"/>
                        <a:gd name="connsiteX1" fmla="*/ 0 w 196746"/>
                        <a:gd name="connsiteY1" fmla="*/ 184931 h 306595"/>
                        <a:gd name="connsiteX2" fmla="*/ 45752 w 196746"/>
                        <a:gd name="connsiteY2" fmla="*/ 306723 h 306595"/>
                        <a:gd name="connsiteX3" fmla="*/ 197230 w 196746"/>
                        <a:gd name="connsiteY3" fmla="*/ 155247 h 306595"/>
                        <a:gd name="connsiteX4" fmla="*/ 197230 w 196746"/>
                        <a:gd name="connsiteY4" fmla="*/ 12297 h 306595"/>
                        <a:gd name="connsiteX5" fmla="*/ 184933 w 196746"/>
                        <a:gd name="connsiteY5" fmla="*/ 0 h 30659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96746" h="306595">
                          <a:moveTo>
                            <a:pt x="184933" y="0"/>
                          </a:moveTo>
                          <a:cubicBezTo>
                            <a:pt x="82724" y="0"/>
                            <a:pt x="0" y="82706"/>
                            <a:pt x="0" y="184931"/>
                          </a:cubicBezTo>
                          <a:cubicBezTo>
                            <a:pt x="0" y="230214"/>
                            <a:pt x="16158" y="273007"/>
                            <a:pt x="45752" y="306723"/>
                          </a:cubicBezTo>
                          <a:cubicBezTo>
                            <a:pt x="46755" y="305720"/>
                            <a:pt x="195756" y="156721"/>
                            <a:pt x="197230" y="155247"/>
                          </a:cubicBezTo>
                          <a:cubicBezTo>
                            <a:pt x="197230" y="137621"/>
                            <a:pt x="197230" y="30114"/>
                            <a:pt x="197230" y="12297"/>
                          </a:cubicBezTo>
                          <a:cubicBezTo>
                            <a:pt x="197230" y="5509"/>
                            <a:pt x="191721" y="0"/>
                            <a:pt x="184933" y="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97" name="Freeform: Shape 296">
                      <a:extLst>
                        <a:ext uri="{FF2B5EF4-FFF2-40B4-BE49-F238E27FC236}">
                          <a16:creationId xmlns:a16="http://schemas.microsoft.com/office/drawing/2014/main" id="{EDDE52FE-C2D7-4D99-831E-EF577932DD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146780" y="503848"/>
                      <a:ext cx="126245" cy="172153"/>
                    </a:xfrm>
                    <a:custGeom>
                      <a:avLst/>
                      <a:gdLst>
                        <a:gd name="connsiteX0" fmla="*/ 126819 w 126245"/>
                        <a:gd name="connsiteY0" fmla="*/ 172502 h 172152"/>
                        <a:gd name="connsiteX1" fmla="*/ 126819 w 126245"/>
                        <a:gd name="connsiteY1" fmla="*/ 0 h 172152"/>
                        <a:gd name="connsiteX2" fmla="*/ 0 w 126245"/>
                        <a:gd name="connsiteY2" fmla="*/ 126825 h 172152"/>
                        <a:gd name="connsiteX3" fmla="*/ 126819 w 126245"/>
                        <a:gd name="connsiteY3" fmla="*/ 172502 h 17215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26245" h="172152">
                          <a:moveTo>
                            <a:pt x="126819" y="172502"/>
                          </a:moveTo>
                          <a:lnTo>
                            <a:pt x="126819" y="0"/>
                          </a:lnTo>
                          <a:lnTo>
                            <a:pt x="0" y="126825"/>
                          </a:lnTo>
                          <a:cubicBezTo>
                            <a:pt x="35933" y="158363"/>
                            <a:pt x="81336" y="173842"/>
                            <a:pt x="126819" y="172502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8" name="Freeform: Shape 297">
                      <a:extLst>
                        <a:ext uri="{FF2B5EF4-FFF2-40B4-BE49-F238E27FC236}">
                          <a16:creationId xmlns:a16="http://schemas.microsoft.com/office/drawing/2014/main" id="{C66326FD-39FD-45ED-BEC0-7BFEE6E2A6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98193" y="479197"/>
                      <a:ext cx="154938" cy="194287"/>
                    </a:xfrm>
                    <a:custGeom>
                      <a:avLst/>
                      <a:gdLst>
                        <a:gd name="connsiteX0" fmla="*/ 143010 w 154937"/>
                        <a:gd name="connsiteY0" fmla="*/ 0 h 194286"/>
                        <a:gd name="connsiteX1" fmla="*/ 57 w 154937"/>
                        <a:gd name="connsiteY1" fmla="*/ 0 h 194286"/>
                        <a:gd name="connsiteX2" fmla="*/ 0 w 154937"/>
                        <a:gd name="connsiteY2" fmla="*/ 194874 h 194286"/>
                        <a:gd name="connsiteX3" fmla="*/ 101136 w 154937"/>
                        <a:gd name="connsiteY3" fmla="*/ 143065 h 194286"/>
                        <a:gd name="connsiteX4" fmla="*/ 155306 w 154937"/>
                        <a:gd name="connsiteY4" fmla="*/ 12296 h 194286"/>
                        <a:gd name="connsiteX5" fmla="*/ 143010 w 154937"/>
                        <a:gd name="connsiteY5" fmla="*/ 0 h 19428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54937" h="194286">
                          <a:moveTo>
                            <a:pt x="143010" y="0"/>
                          </a:moveTo>
                          <a:lnTo>
                            <a:pt x="57" y="0"/>
                          </a:lnTo>
                          <a:lnTo>
                            <a:pt x="0" y="194874"/>
                          </a:lnTo>
                          <a:cubicBezTo>
                            <a:pt x="38000" y="188803"/>
                            <a:pt x="73231" y="170983"/>
                            <a:pt x="101136" y="143065"/>
                          </a:cubicBezTo>
                          <a:cubicBezTo>
                            <a:pt x="136066" y="108135"/>
                            <a:pt x="155306" y="61695"/>
                            <a:pt x="155306" y="12296"/>
                          </a:cubicBezTo>
                          <a:cubicBezTo>
                            <a:pt x="155306" y="5509"/>
                            <a:pt x="149798" y="0"/>
                            <a:pt x="143010" y="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99" name="Freeform: Shape 298">
                      <a:extLst>
                        <a:ext uri="{FF2B5EF4-FFF2-40B4-BE49-F238E27FC236}">
                          <a16:creationId xmlns:a16="http://schemas.microsoft.com/office/drawing/2014/main" id="{42CC6726-6C2C-4447-AA2D-0259452D47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306127" y="256705"/>
                      <a:ext cx="196746" cy="196746"/>
                    </a:xfrm>
                    <a:custGeom>
                      <a:avLst/>
                      <a:gdLst>
                        <a:gd name="connsiteX0" fmla="*/ 143060 w 196746"/>
                        <a:gd name="connsiteY0" fmla="*/ 54170 h 196746"/>
                        <a:gd name="connsiteX1" fmla="*/ 12297 w 196746"/>
                        <a:gd name="connsiteY1" fmla="*/ 0 h 196746"/>
                        <a:gd name="connsiteX2" fmla="*/ 0 w 196746"/>
                        <a:gd name="connsiteY2" fmla="*/ 12297 h 196746"/>
                        <a:gd name="connsiteX3" fmla="*/ 0 w 196746"/>
                        <a:gd name="connsiteY3" fmla="*/ 184931 h 196746"/>
                        <a:gd name="connsiteX4" fmla="*/ 12297 w 196746"/>
                        <a:gd name="connsiteY4" fmla="*/ 197227 h 196746"/>
                        <a:gd name="connsiteX5" fmla="*/ 184935 w 196746"/>
                        <a:gd name="connsiteY5" fmla="*/ 197227 h 196746"/>
                        <a:gd name="connsiteX6" fmla="*/ 197231 w 196746"/>
                        <a:gd name="connsiteY6" fmla="*/ 184931 h 196746"/>
                        <a:gd name="connsiteX7" fmla="*/ 143060 w 196746"/>
                        <a:gd name="connsiteY7" fmla="*/ 54170 h 1967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96746" h="196746">
                          <a:moveTo>
                            <a:pt x="143060" y="54170"/>
                          </a:moveTo>
                          <a:cubicBezTo>
                            <a:pt x="108129" y="19240"/>
                            <a:pt x="61689" y="0"/>
                            <a:pt x="12297" y="0"/>
                          </a:cubicBezTo>
                          <a:cubicBezTo>
                            <a:pt x="5501" y="0"/>
                            <a:pt x="0" y="5509"/>
                            <a:pt x="0" y="12297"/>
                          </a:cubicBezTo>
                          <a:lnTo>
                            <a:pt x="0" y="184931"/>
                          </a:lnTo>
                          <a:cubicBezTo>
                            <a:pt x="0" y="191704"/>
                            <a:pt x="5479" y="197227"/>
                            <a:pt x="12297" y="197227"/>
                          </a:cubicBezTo>
                          <a:lnTo>
                            <a:pt x="184935" y="197227"/>
                          </a:lnTo>
                          <a:cubicBezTo>
                            <a:pt x="191723" y="197227"/>
                            <a:pt x="197231" y="191727"/>
                            <a:pt x="197231" y="184931"/>
                          </a:cubicBezTo>
                          <a:cubicBezTo>
                            <a:pt x="197231" y="135539"/>
                            <a:pt x="177991" y="89100"/>
                            <a:pt x="143060" y="54170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3C4891CD-4B72-493B-B837-49AC40EFC374}"/>
                  </a:ext>
                </a:extLst>
              </p:cNvPr>
              <p:cNvGrpSpPr/>
              <p:nvPr/>
            </p:nvGrpSpPr>
            <p:grpSpPr>
              <a:xfrm>
                <a:off x="7351668" y="5229933"/>
                <a:ext cx="2227424" cy="1182145"/>
                <a:chOff x="985659" y="5469670"/>
                <a:chExt cx="2227424" cy="1182145"/>
              </a:xfrm>
            </p:grpSpPr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FDD493EF-0780-470D-8181-6F8CF242A35E}"/>
                    </a:ext>
                  </a:extLst>
                </p:cNvPr>
                <p:cNvGrpSpPr/>
                <p:nvPr/>
              </p:nvGrpSpPr>
              <p:grpSpPr>
                <a:xfrm>
                  <a:off x="1706822" y="5469670"/>
                  <a:ext cx="1506261" cy="1182145"/>
                  <a:chOff x="1706822" y="5443163"/>
                  <a:chExt cx="1506261" cy="1182145"/>
                </a:xfrm>
              </p:grpSpPr>
              <p:sp>
                <p:nvSpPr>
                  <p:cNvPr id="301" name="TextBox 300">
                    <a:extLst>
                      <a:ext uri="{FF2B5EF4-FFF2-40B4-BE49-F238E27FC236}">
                        <a16:creationId xmlns:a16="http://schemas.microsoft.com/office/drawing/2014/main" id="{36FDCE3A-285A-47E6-84E6-C99DF24BB98E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3" y="5781359"/>
                    <a:ext cx="1506260" cy="84394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Lorem ipsum dolor sit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me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consectetur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adipiscing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 </a:t>
                    </a:r>
                    <a:r>
                      <a:rPr lang="en-US" sz="1200" dirty="0" err="1">
                        <a:solidFill>
                          <a:schemeClr val="bg1"/>
                        </a:solidFill>
                        <a:latin typeface="+mj-lt"/>
                      </a:rPr>
                      <a:t>elit</a:t>
                    </a: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</a:rPr>
                      <a:t>, </a:t>
                    </a:r>
                  </a:p>
                </p:txBody>
              </p:sp>
              <p:sp>
                <p:nvSpPr>
                  <p:cNvPr id="302" name="TextBox 301">
                    <a:extLst>
                      <a:ext uri="{FF2B5EF4-FFF2-40B4-BE49-F238E27FC236}">
                        <a16:creationId xmlns:a16="http://schemas.microsoft.com/office/drawing/2014/main" id="{77454829-D216-4535-8D74-CF178E70D0BA}"/>
                      </a:ext>
                    </a:extLst>
                  </p:cNvPr>
                  <p:cNvSpPr txBox="1"/>
                  <p:nvPr/>
                </p:nvSpPr>
                <p:spPr>
                  <a:xfrm>
                    <a:off x="1706822" y="5443163"/>
                    <a:ext cx="1317364" cy="365934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40000"/>
                      </a:lnSpc>
                    </a:pPr>
                    <a:r>
                      <a:rPr lang="en-US" sz="1400" b="1" dirty="0">
                        <a:solidFill>
                          <a:schemeClr val="accent5"/>
                        </a:solidFill>
                      </a:rPr>
                      <a:t>Option 05</a:t>
                    </a:r>
                  </a:p>
                </p:txBody>
              </p:sp>
            </p:grpSp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65E521DF-0290-4BA9-B3B2-0BF8B3B93EE1}"/>
                    </a:ext>
                  </a:extLst>
                </p:cNvPr>
                <p:cNvGrpSpPr/>
                <p:nvPr/>
              </p:nvGrpSpPr>
              <p:grpSpPr>
                <a:xfrm>
                  <a:off x="985659" y="5661654"/>
                  <a:ext cx="539644" cy="539644"/>
                  <a:chOff x="896504" y="5602080"/>
                  <a:chExt cx="717954" cy="717953"/>
                </a:xfrm>
              </p:grpSpPr>
              <p:sp>
                <p:nvSpPr>
                  <p:cNvPr id="303" name="Oval 302">
                    <a:extLst>
                      <a:ext uri="{FF2B5EF4-FFF2-40B4-BE49-F238E27FC236}">
                        <a16:creationId xmlns:a16="http://schemas.microsoft.com/office/drawing/2014/main" id="{0E77D028-434E-4AAE-ADC0-2C723A7C99F2}"/>
                      </a:ext>
                    </a:extLst>
                  </p:cNvPr>
                  <p:cNvSpPr/>
                  <p:nvPr/>
                </p:nvSpPr>
                <p:spPr>
                  <a:xfrm>
                    <a:off x="896504" y="5602080"/>
                    <a:ext cx="717954" cy="717953"/>
                  </a:xfrm>
                  <a:prstGeom prst="ellipse">
                    <a:avLst/>
                  </a:prstGeom>
                  <a:gradFill>
                    <a:gsLst>
                      <a:gs pos="0">
                        <a:schemeClr val="accent5"/>
                      </a:gs>
                      <a:gs pos="99000">
                        <a:schemeClr val="accent5">
                          <a:lumMod val="75000"/>
                        </a:schemeClr>
                      </a:gs>
                    </a:gsLst>
                    <a:lin ang="2700000" scaled="1"/>
                  </a:gradFill>
                  <a:ln w="25400" cap="flat" cmpd="sng" algn="ctr">
                    <a:noFill/>
                    <a:prstDash val="solid"/>
                  </a:ln>
                  <a:effectLst>
                    <a:outerShdw blurRad="228600" dist="38100" dir="2700000" algn="tl" rotWithShape="0">
                      <a:prstClr val="black">
                        <a:alpha val="25000"/>
                      </a:prstClr>
                    </a:outerShdw>
                  </a:effectLst>
                </p:spPr>
                <p:txBody>
                  <a:bodyPr rtlCol="0" anchor="ctr"/>
                  <a:lstStyle/>
                  <a:p>
                    <a:pPr algn="ctr"/>
                    <a:endParaRPr lang="en-US" kern="0" dirty="0">
                      <a:solidFill>
                        <a:prstClr val="white"/>
                      </a:solidFill>
                      <a:latin typeface="Calibri"/>
                      <a:ea typeface="宋体"/>
                    </a:endParaRPr>
                  </a:p>
                </p:txBody>
              </p:sp>
              <p:grpSp>
                <p:nvGrpSpPr>
                  <p:cNvPr id="304" name="Graphic 39">
                    <a:extLst>
                      <a:ext uri="{FF2B5EF4-FFF2-40B4-BE49-F238E27FC236}">
                        <a16:creationId xmlns:a16="http://schemas.microsoft.com/office/drawing/2014/main" id="{7B46A7B1-4B29-47B9-8234-F2EAEB9F7DB3}"/>
                      </a:ext>
                    </a:extLst>
                  </p:cNvPr>
                  <p:cNvGrpSpPr/>
                  <p:nvPr/>
                </p:nvGrpSpPr>
                <p:grpSpPr>
                  <a:xfrm>
                    <a:off x="1134086" y="5840640"/>
                    <a:ext cx="241306" cy="240832"/>
                    <a:chOff x="5306511" y="1725739"/>
                    <a:chExt cx="419725" cy="418905"/>
                  </a:xfrm>
                  <a:solidFill>
                    <a:schemeClr val="bg1"/>
                  </a:solidFill>
                </p:grpSpPr>
                <p:sp>
                  <p:nvSpPr>
                    <p:cNvPr id="305" name="Freeform: Shape 304">
                      <a:extLst>
                        <a:ext uri="{FF2B5EF4-FFF2-40B4-BE49-F238E27FC236}">
                          <a16:creationId xmlns:a16="http://schemas.microsoft.com/office/drawing/2014/main" id="{C6A528F9-D627-4724-80CE-7FB47413A6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71373" y="1878194"/>
                      <a:ext cx="201665" cy="201665"/>
                    </a:xfrm>
                    <a:custGeom>
                      <a:avLst/>
                      <a:gdLst>
                        <a:gd name="connsiteX0" fmla="*/ 64620 w 201664"/>
                        <a:gd name="connsiteY0" fmla="*/ 193721 h 201664"/>
                        <a:gd name="connsiteX1" fmla="*/ 12928 w 201664"/>
                        <a:gd name="connsiteY1" fmla="*/ 202259 h 201664"/>
                        <a:gd name="connsiteX2" fmla="*/ 153 w 201664"/>
                        <a:gd name="connsiteY2" fmla="*/ 189484 h 201664"/>
                        <a:gd name="connsiteX3" fmla="*/ 8691 w 201664"/>
                        <a:gd name="connsiteY3" fmla="*/ 137793 h 201664"/>
                        <a:gd name="connsiteX4" fmla="*/ 17778 w 201664"/>
                        <a:gd name="connsiteY4" fmla="*/ 133340 h 201664"/>
                        <a:gd name="connsiteX5" fmla="*/ 28610 w 201664"/>
                        <a:gd name="connsiteY5" fmla="*/ 133738 h 201664"/>
                        <a:gd name="connsiteX6" fmla="*/ 28679 w 201664"/>
                        <a:gd name="connsiteY6" fmla="*/ 133704 h 201664"/>
                        <a:gd name="connsiteX7" fmla="*/ 197428 w 201664"/>
                        <a:gd name="connsiteY7" fmla="*/ 658 h 201664"/>
                        <a:gd name="connsiteX8" fmla="*/ 201753 w 201664"/>
                        <a:gd name="connsiteY8" fmla="*/ 4983 h 201664"/>
                        <a:gd name="connsiteX9" fmla="*/ 68270 w 201664"/>
                        <a:gd name="connsiteY9" fmla="*/ 174944 h 201664"/>
                        <a:gd name="connsiteX10" fmla="*/ 69074 w 201664"/>
                        <a:gd name="connsiteY10" fmla="*/ 184638 h 201664"/>
                        <a:gd name="connsiteX11" fmla="*/ 64620 w 201664"/>
                        <a:gd name="connsiteY11" fmla="*/ 193721 h 2016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201664" h="201664">
                          <a:moveTo>
                            <a:pt x="64620" y="193721"/>
                          </a:moveTo>
                          <a:lnTo>
                            <a:pt x="12928" y="202259"/>
                          </a:lnTo>
                          <a:cubicBezTo>
                            <a:pt x="5418" y="203500"/>
                            <a:pt x="-1088" y="196994"/>
                            <a:pt x="153" y="189484"/>
                          </a:cubicBezTo>
                          <a:lnTo>
                            <a:pt x="8691" y="137793"/>
                          </a:lnTo>
                          <a:cubicBezTo>
                            <a:pt x="9387" y="133581"/>
                            <a:pt x="14071" y="131223"/>
                            <a:pt x="17778" y="133340"/>
                          </a:cubicBezTo>
                          <a:cubicBezTo>
                            <a:pt x="20694" y="135004"/>
                            <a:pt x="24205" y="135677"/>
                            <a:pt x="28610" y="133738"/>
                          </a:cubicBezTo>
                          <a:cubicBezTo>
                            <a:pt x="28636" y="133730"/>
                            <a:pt x="28662" y="133721"/>
                            <a:pt x="28679" y="133704"/>
                          </a:cubicBezTo>
                          <a:cubicBezTo>
                            <a:pt x="30671" y="132878"/>
                            <a:pt x="45184" y="115919"/>
                            <a:pt x="197428" y="658"/>
                          </a:cubicBezTo>
                          <a:cubicBezTo>
                            <a:pt x="200288" y="-1506"/>
                            <a:pt x="203918" y="2124"/>
                            <a:pt x="201753" y="4983"/>
                          </a:cubicBezTo>
                          <a:cubicBezTo>
                            <a:pt x="85709" y="158230"/>
                            <a:pt x="69188" y="171910"/>
                            <a:pt x="68270" y="174944"/>
                          </a:cubicBezTo>
                          <a:cubicBezTo>
                            <a:pt x="67019" y="179006"/>
                            <a:pt x="67593" y="182034"/>
                            <a:pt x="69074" y="184638"/>
                          </a:cubicBezTo>
                          <a:cubicBezTo>
                            <a:pt x="71182" y="188348"/>
                            <a:pt x="68830" y="193026"/>
                            <a:pt x="64620" y="193721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06" name="Freeform: Shape 305">
                      <a:extLst>
                        <a:ext uri="{FF2B5EF4-FFF2-40B4-BE49-F238E27FC236}">
                          <a16:creationId xmlns:a16="http://schemas.microsoft.com/office/drawing/2014/main" id="{AC4E547C-C8A3-4465-9A9B-DC9B444EB0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306511" y="1725739"/>
                      <a:ext cx="419725" cy="418905"/>
                    </a:xfrm>
                    <a:custGeom>
                      <a:avLst/>
                      <a:gdLst>
                        <a:gd name="connsiteX0" fmla="*/ 419194 w 419725"/>
                        <a:gd name="connsiteY0" fmla="*/ 11221 h 418905"/>
                        <a:gd name="connsiteX1" fmla="*/ 272302 w 419725"/>
                        <a:gd name="connsiteY1" fmla="*/ 409937 h 418905"/>
                        <a:gd name="connsiteX2" fmla="*/ 247701 w 419725"/>
                        <a:gd name="connsiteY2" fmla="*/ 415340 h 418905"/>
                        <a:gd name="connsiteX3" fmla="*/ 171795 w 419725"/>
                        <a:gd name="connsiteY3" fmla="*/ 339435 h 418905"/>
                        <a:gd name="connsiteX4" fmla="*/ 170427 w 419725"/>
                        <a:gd name="connsiteY4" fmla="*/ 319548 h 418905"/>
                        <a:gd name="connsiteX5" fmla="*/ 333066 w 419725"/>
                        <a:gd name="connsiteY5" fmla="*/ 104712 h 418905"/>
                        <a:gd name="connsiteX6" fmla="*/ 315014 w 419725"/>
                        <a:gd name="connsiteY6" fmla="*/ 86660 h 418905"/>
                        <a:gd name="connsiteX7" fmla="*/ 100178 w 419725"/>
                        <a:gd name="connsiteY7" fmla="*/ 249300 h 418905"/>
                        <a:gd name="connsiteX8" fmla="*/ 80290 w 419725"/>
                        <a:gd name="connsiteY8" fmla="*/ 247931 h 418905"/>
                        <a:gd name="connsiteX9" fmla="*/ 4385 w 419725"/>
                        <a:gd name="connsiteY9" fmla="*/ 172025 h 418905"/>
                        <a:gd name="connsiteX10" fmla="*/ 9788 w 419725"/>
                        <a:gd name="connsiteY10" fmla="*/ 147424 h 418905"/>
                        <a:gd name="connsiteX11" fmla="*/ 408505 w 419725"/>
                        <a:gd name="connsiteY11" fmla="*/ 531 h 418905"/>
                        <a:gd name="connsiteX12" fmla="*/ 419194 w 419725"/>
                        <a:gd name="connsiteY12" fmla="*/ 11221 h 41890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419725" h="418905">
                          <a:moveTo>
                            <a:pt x="419194" y="11221"/>
                          </a:moveTo>
                          <a:lnTo>
                            <a:pt x="272302" y="409937"/>
                          </a:lnTo>
                          <a:cubicBezTo>
                            <a:pt x="268530" y="420175"/>
                            <a:pt x="255416" y="423056"/>
                            <a:pt x="247701" y="415340"/>
                          </a:cubicBezTo>
                          <a:lnTo>
                            <a:pt x="171795" y="339435"/>
                          </a:lnTo>
                          <a:cubicBezTo>
                            <a:pt x="166438" y="334077"/>
                            <a:pt x="165853" y="325589"/>
                            <a:pt x="170427" y="319548"/>
                          </a:cubicBezTo>
                          <a:lnTo>
                            <a:pt x="333066" y="104712"/>
                          </a:lnTo>
                          <a:cubicBezTo>
                            <a:pt x="342279" y="92379"/>
                            <a:pt x="326544" y="77987"/>
                            <a:pt x="315014" y="86660"/>
                          </a:cubicBezTo>
                          <a:lnTo>
                            <a:pt x="100178" y="249300"/>
                          </a:lnTo>
                          <a:cubicBezTo>
                            <a:pt x="94137" y="253873"/>
                            <a:pt x="85648" y="253289"/>
                            <a:pt x="80290" y="247931"/>
                          </a:cubicBezTo>
                          <a:lnTo>
                            <a:pt x="4385" y="172025"/>
                          </a:lnTo>
                          <a:cubicBezTo>
                            <a:pt x="-3331" y="164309"/>
                            <a:pt x="-450" y="151195"/>
                            <a:pt x="9788" y="147424"/>
                          </a:cubicBezTo>
                          <a:lnTo>
                            <a:pt x="408505" y="531"/>
                          </a:lnTo>
                          <a:cubicBezTo>
                            <a:pt x="415169" y="-1924"/>
                            <a:pt x="421650" y="4556"/>
                            <a:pt x="419194" y="11221"/>
                          </a:cubicBezTo>
                          <a:close/>
                        </a:path>
                      </a:pathLst>
                    </a:custGeom>
                    <a:grpFill/>
                    <a:ln w="819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307" name="Graphic 12">
                <a:extLst>
                  <a:ext uri="{FF2B5EF4-FFF2-40B4-BE49-F238E27FC236}">
                    <a16:creationId xmlns:a16="http://schemas.microsoft.com/office/drawing/2014/main" id="{B32F239E-0F8D-47E2-BD4B-15E10903D299}"/>
                  </a:ext>
                </a:extLst>
              </p:cNvPr>
              <p:cNvGrpSpPr/>
              <p:nvPr/>
            </p:nvGrpSpPr>
            <p:grpSpPr>
              <a:xfrm>
                <a:off x="4739536" y="1986455"/>
                <a:ext cx="227191" cy="227191"/>
                <a:chOff x="6640645" y="1724489"/>
                <a:chExt cx="418905" cy="418905"/>
              </a:xfrm>
              <a:solidFill>
                <a:schemeClr val="bg1"/>
              </a:solidFill>
            </p:grpSpPr>
            <p:sp>
              <p:nvSpPr>
                <p:cNvPr id="308" name="Freeform: Shape 307">
                  <a:extLst>
                    <a:ext uri="{FF2B5EF4-FFF2-40B4-BE49-F238E27FC236}">
                      <a16:creationId xmlns:a16="http://schemas.microsoft.com/office/drawing/2014/main" id="{A66ED714-B314-4938-BC4E-D5265663C7BD}"/>
                    </a:ext>
                  </a:extLst>
                </p:cNvPr>
                <p:cNvSpPr/>
                <p:nvPr/>
              </p:nvSpPr>
              <p:spPr>
                <a:xfrm>
                  <a:off x="6811107" y="1724489"/>
                  <a:ext cx="249212" cy="249212"/>
                </a:xfrm>
                <a:custGeom>
                  <a:avLst/>
                  <a:gdLst>
                    <a:gd name="connsiteX0" fmla="*/ 245654 w 249211"/>
                    <a:gd name="connsiteY0" fmla="*/ 176761 h 249211"/>
                    <a:gd name="connsiteX1" fmla="*/ 223446 w 249211"/>
                    <a:gd name="connsiteY1" fmla="*/ 198985 h 249211"/>
                    <a:gd name="connsiteX2" fmla="*/ 133779 w 249211"/>
                    <a:gd name="connsiteY2" fmla="*/ 211716 h 249211"/>
                    <a:gd name="connsiteX3" fmla="*/ 96250 w 249211"/>
                    <a:gd name="connsiteY3" fmla="*/ 249246 h 249211"/>
                    <a:gd name="connsiteX4" fmla="*/ 95963 w 249211"/>
                    <a:gd name="connsiteY4" fmla="*/ 248672 h 249211"/>
                    <a:gd name="connsiteX5" fmla="*/ 42358 w 249211"/>
                    <a:gd name="connsiteY5" fmla="*/ 183418 h 249211"/>
                    <a:gd name="connsiteX6" fmla="*/ 0 w 249211"/>
                    <a:gd name="connsiteY6" fmla="*/ 153020 h 249211"/>
                    <a:gd name="connsiteX7" fmla="*/ 37546 w 249211"/>
                    <a:gd name="connsiteY7" fmla="*/ 115475 h 249211"/>
                    <a:gd name="connsiteX8" fmla="*/ 50269 w 249211"/>
                    <a:gd name="connsiteY8" fmla="*/ 25816 h 249211"/>
                    <a:gd name="connsiteX9" fmla="*/ 72493 w 249211"/>
                    <a:gd name="connsiteY9" fmla="*/ 3600 h 249211"/>
                    <a:gd name="connsiteX10" fmla="*/ 89880 w 249211"/>
                    <a:gd name="connsiteY10" fmla="*/ 3600 h 249211"/>
                    <a:gd name="connsiteX11" fmla="*/ 245654 w 249211"/>
                    <a:gd name="connsiteY11" fmla="*/ 159374 h 249211"/>
                    <a:gd name="connsiteX12" fmla="*/ 245654 w 249211"/>
                    <a:gd name="connsiteY12" fmla="*/ 176761 h 2492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49211" h="249211">
                      <a:moveTo>
                        <a:pt x="245654" y="176761"/>
                      </a:moveTo>
                      <a:lnTo>
                        <a:pt x="223446" y="198985"/>
                      </a:lnTo>
                      <a:cubicBezTo>
                        <a:pt x="199779" y="222636"/>
                        <a:pt x="162996" y="227833"/>
                        <a:pt x="133779" y="211716"/>
                      </a:cubicBezTo>
                      <a:lnTo>
                        <a:pt x="96250" y="249246"/>
                      </a:lnTo>
                      <a:cubicBezTo>
                        <a:pt x="96151" y="249057"/>
                        <a:pt x="96061" y="248860"/>
                        <a:pt x="95963" y="248672"/>
                      </a:cubicBezTo>
                      <a:cubicBezTo>
                        <a:pt x="82073" y="220862"/>
                        <a:pt x="66849" y="207909"/>
                        <a:pt x="42358" y="183418"/>
                      </a:cubicBezTo>
                      <a:cubicBezTo>
                        <a:pt x="26907" y="167966"/>
                        <a:pt x="7916" y="156317"/>
                        <a:pt x="0" y="153020"/>
                      </a:cubicBezTo>
                      <a:lnTo>
                        <a:pt x="37546" y="115475"/>
                      </a:lnTo>
                      <a:cubicBezTo>
                        <a:pt x="21421" y="86291"/>
                        <a:pt x="26610" y="49483"/>
                        <a:pt x="50269" y="25816"/>
                      </a:cubicBezTo>
                      <a:lnTo>
                        <a:pt x="72493" y="3600"/>
                      </a:lnTo>
                      <a:cubicBezTo>
                        <a:pt x="77297" y="-1204"/>
                        <a:pt x="85084" y="-1196"/>
                        <a:pt x="89880" y="3600"/>
                      </a:cubicBezTo>
                      <a:lnTo>
                        <a:pt x="245654" y="159374"/>
                      </a:lnTo>
                      <a:cubicBezTo>
                        <a:pt x="250458" y="164177"/>
                        <a:pt x="250458" y="171965"/>
                        <a:pt x="245654" y="176761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09" name="Freeform: Shape 308">
                  <a:extLst>
                    <a:ext uri="{FF2B5EF4-FFF2-40B4-BE49-F238E27FC236}">
                      <a16:creationId xmlns:a16="http://schemas.microsoft.com/office/drawing/2014/main" id="{F41B6885-F808-4C8C-AF99-5A307659881C}"/>
                    </a:ext>
                  </a:extLst>
                </p:cNvPr>
                <p:cNvSpPr/>
                <p:nvPr/>
              </p:nvSpPr>
              <p:spPr>
                <a:xfrm>
                  <a:off x="6644861" y="2050351"/>
                  <a:ext cx="89356" cy="89356"/>
                </a:xfrm>
                <a:custGeom>
                  <a:avLst/>
                  <a:gdLst>
                    <a:gd name="connsiteX0" fmla="*/ 89647 w 89355"/>
                    <a:gd name="connsiteY0" fmla="*/ 17387 h 89355"/>
                    <a:gd name="connsiteX1" fmla="*/ 20999 w 89355"/>
                    <a:gd name="connsiteY1" fmla="*/ 86035 h 89355"/>
                    <a:gd name="connsiteX2" fmla="*/ 12301 w 89355"/>
                    <a:gd name="connsiteY2" fmla="*/ 89642 h 89355"/>
                    <a:gd name="connsiteX3" fmla="*/ 3603 w 89355"/>
                    <a:gd name="connsiteY3" fmla="*/ 86035 h 89355"/>
                    <a:gd name="connsiteX4" fmla="*/ 3603 w 89355"/>
                    <a:gd name="connsiteY4" fmla="*/ 68648 h 89355"/>
                    <a:gd name="connsiteX5" fmla="*/ 72259 w 89355"/>
                    <a:gd name="connsiteY5" fmla="*/ 0 h 893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9355" h="89355">
                      <a:moveTo>
                        <a:pt x="89647" y="17387"/>
                      </a:moveTo>
                      <a:lnTo>
                        <a:pt x="20999" y="86035"/>
                      </a:lnTo>
                      <a:cubicBezTo>
                        <a:pt x="18597" y="88437"/>
                        <a:pt x="15449" y="89642"/>
                        <a:pt x="12301" y="89642"/>
                      </a:cubicBezTo>
                      <a:cubicBezTo>
                        <a:pt x="9153" y="89642"/>
                        <a:pt x="6005" y="88437"/>
                        <a:pt x="3603" y="86035"/>
                      </a:cubicBezTo>
                      <a:cubicBezTo>
                        <a:pt x="-1201" y="81232"/>
                        <a:pt x="-1201" y="73452"/>
                        <a:pt x="3603" y="68648"/>
                      </a:cubicBezTo>
                      <a:lnTo>
                        <a:pt x="72259" y="0"/>
                      </a:ln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10" name="Freeform: Shape 309">
                  <a:extLst>
                    <a:ext uri="{FF2B5EF4-FFF2-40B4-BE49-F238E27FC236}">
                      <a16:creationId xmlns:a16="http://schemas.microsoft.com/office/drawing/2014/main" id="{9BAB8AD7-15A1-44C2-86F2-911AFC5CA8FD}"/>
                    </a:ext>
                  </a:extLst>
                </p:cNvPr>
                <p:cNvSpPr/>
                <p:nvPr/>
              </p:nvSpPr>
              <p:spPr>
                <a:xfrm>
                  <a:off x="6640645" y="1885506"/>
                  <a:ext cx="258229" cy="258229"/>
                </a:xfrm>
                <a:custGeom>
                  <a:avLst/>
                  <a:gdLst>
                    <a:gd name="connsiteX0" fmla="*/ 258646 w 258229"/>
                    <a:gd name="connsiteY0" fmla="*/ 159188 h 258229"/>
                    <a:gd name="connsiteX1" fmla="*/ 218911 w 258229"/>
                    <a:gd name="connsiteY1" fmla="*/ 255110 h 258229"/>
                    <a:gd name="connsiteX2" fmla="*/ 201515 w 258229"/>
                    <a:gd name="connsiteY2" fmla="*/ 255110 h 258229"/>
                    <a:gd name="connsiteX3" fmla="*/ 3597 w 258229"/>
                    <a:gd name="connsiteY3" fmla="*/ 57183 h 258229"/>
                    <a:gd name="connsiteX4" fmla="*/ 3597 w 258229"/>
                    <a:gd name="connsiteY4" fmla="*/ 39796 h 258229"/>
                    <a:gd name="connsiteX5" fmla="*/ 160059 w 258229"/>
                    <a:gd name="connsiteY5" fmla="*/ 14284 h 258229"/>
                    <a:gd name="connsiteX6" fmla="*/ 218911 w 258229"/>
                    <a:gd name="connsiteY6" fmla="*/ 63266 h 258229"/>
                    <a:gd name="connsiteX7" fmla="*/ 258646 w 258229"/>
                    <a:gd name="connsiteY7" fmla="*/ 159188 h 2582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8229" h="258229">
                      <a:moveTo>
                        <a:pt x="258646" y="159188"/>
                      </a:moveTo>
                      <a:cubicBezTo>
                        <a:pt x="258629" y="194751"/>
                        <a:pt x="245023" y="228980"/>
                        <a:pt x="218911" y="255110"/>
                      </a:cubicBezTo>
                      <a:cubicBezTo>
                        <a:pt x="214137" y="259884"/>
                        <a:pt x="206351" y="259928"/>
                        <a:pt x="201515" y="255110"/>
                      </a:cubicBezTo>
                      <a:lnTo>
                        <a:pt x="3597" y="57183"/>
                      </a:lnTo>
                      <a:cubicBezTo>
                        <a:pt x="-1189" y="52397"/>
                        <a:pt x="-1209" y="44602"/>
                        <a:pt x="3597" y="39796"/>
                      </a:cubicBezTo>
                      <a:cubicBezTo>
                        <a:pt x="44922" y="-1529"/>
                        <a:pt x="107799" y="-11784"/>
                        <a:pt x="160059" y="14284"/>
                      </a:cubicBezTo>
                      <a:cubicBezTo>
                        <a:pt x="183785" y="26133"/>
                        <a:pt x="194326" y="38689"/>
                        <a:pt x="218911" y="63266"/>
                      </a:cubicBezTo>
                      <a:cubicBezTo>
                        <a:pt x="244534" y="88889"/>
                        <a:pt x="258646" y="123226"/>
                        <a:pt x="258646" y="159188"/>
                      </a:cubicBezTo>
                      <a:close/>
                    </a:path>
                  </a:pathLst>
                </a:custGeom>
                <a:grpFill/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12" name="Graphic 14">
                <a:extLst>
                  <a:ext uri="{FF2B5EF4-FFF2-40B4-BE49-F238E27FC236}">
                    <a16:creationId xmlns:a16="http://schemas.microsoft.com/office/drawing/2014/main" id="{AFB9F31C-40B9-494B-A4E5-4F43CA9783C3}"/>
                  </a:ext>
                </a:extLst>
              </p:cNvPr>
              <p:cNvSpPr/>
              <p:nvPr/>
            </p:nvSpPr>
            <p:spPr>
              <a:xfrm>
                <a:off x="4790285" y="3039088"/>
                <a:ext cx="221700" cy="221700"/>
              </a:xfrm>
              <a:custGeom>
                <a:avLst/>
                <a:gdLst>
                  <a:gd name="connsiteX0" fmla="*/ 266895 w 419725"/>
                  <a:gd name="connsiteY0" fmla="*/ 0 h 419725"/>
                  <a:gd name="connsiteX1" fmla="*/ 114065 w 419725"/>
                  <a:gd name="connsiteY1" fmla="*/ 152823 h 419725"/>
                  <a:gd name="connsiteX2" fmla="*/ 150487 w 419725"/>
                  <a:gd name="connsiteY2" fmla="*/ 251851 h 419725"/>
                  <a:gd name="connsiteX3" fmla="*/ 126369 w 419725"/>
                  <a:gd name="connsiteY3" fmla="*/ 275977 h 419725"/>
                  <a:gd name="connsiteX4" fmla="*/ 117672 w 419725"/>
                  <a:gd name="connsiteY4" fmla="*/ 267271 h 419725"/>
                  <a:gd name="connsiteX5" fmla="*/ 100284 w 419725"/>
                  <a:gd name="connsiteY5" fmla="*/ 267271 h 419725"/>
                  <a:gd name="connsiteX6" fmla="*/ 3600 w 419725"/>
                  <a:gd name="connsiteY6" fmla="*/ 363956 h 419725"/>
                  <a:gd name="connsiteX7" fmla="*/ 3600 w 419725"/>
                  <a:gd name="connsiteY7" fmla="*/ 381343 h 419725"/>
                  <a:gd name="connsiteX8" fmla="*/ 38383 w 419725"/>
                  <a:gd name="connsiteY8" fmla="*/ 416126 h 419725"/>
                  <a:gd name="connsiteX9" fmla="*/ 55770 w 419725"/>
                  <a:gd name="connsiteY9" fmla="*/ 416126 h 419725"/>
                  <a:gd name="connsiteX10" fmla="*/ 152446 w 419725"/>
                  <a:gd name="connsiteY10" fmla="*/ 319442 h 419725"/>
                  <a:gd name="connsiteX11" fmla="*/ 152446 w 419725"/>
                  <a:gd name="connsiteY11" fmla="*/ 302054 h 419725"/>
                  <a:gd name="connsiteX12" fmla="*/ 143757 w 419725"/>
                  <a:gd name="connsiteY12" fmla="*/ 293365 h 419725"/>
                  <a:gd name="connsiteX13" fmla="*/ 167875 w 419725"/>
                  <a:gd name="connsiteY13" fmla="*/ 269239 h 419725"/>
                  <a:gd name="connsiteX14" fmla="*/ 266895 w 419725"/>
                  <a:gd name="connsiteY14" fmla="*/ 305661 h 419725"/>
                  <a:gd name="connsiteX15" fmla="*/ 419726 w 419725"/>
                  <a:gd name="connsiteY15" fmla="*/ 152823 h 419725"/>
                  <a:gd name="connsiteX16" fmla="*/ 266895 w 419725"/>
                  <a:gd name="connsiteY16" fmla="*/ 0 h 419725"/>
                  <a:gd name="connsiteX17" fmla="*/ 266895 w 419725"/>
                  <a:gd name="connsiteY17" fmla="*/ 73780 h 419725"/>
                  <a:gd name="connsiteX18" fmla="*/ 187844 w 419725"/>
                  <a:gd name="connsiteY18" fmla="*/ 152831 h 419725"/>
                  <a:gd name="connsiteX19" fmla="*/ 175548 w 419725"/>
                  <a:gd name="connsiteY19" fmla="*/ 165127 h 419725"/>
                  <a:gd name="connsiteX20" fmla="*/ 163251 w 419725"/>
                  <a:gd name="connsiteY20" fmla="*/ 152831 h 419725"/>
                  <a:gd name="connsiteX21" fmla="*/ 266895 w 419725"/>
                  <a:gd name="connsiteY21" fmla="*/ 49187 h 419725"/>
                  <a:gd name="connsiteX22" fmla="*/ 279192 w 419725"/>
                  <a:gd name="connsiteY22" fmla="*/ 61483 h 419725"/>
                  <a:gd name="connsiteX23" fmla="*/ 266895 w 419725"/>
                  <a:gd name="connsiteY23" fmla="*/ 73780 h 419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419725" h="419725">
                    <a:moveTo>
                      <a:pt x="266895" y="0"/>
                    </a:moveTo>
                    <a:cubicBezTo>
                      <a:pt x="182622" y="0"/>
                      <a:pt x="114065" y="68558"/>
                      <a:pt x="114065" y="152823"/>
                    </a:cubicBezTo>
                    <a:cubicBezTo>
                      <a:pt x="114065" y="189614"/>
                      <a:pt x="127066" y="224299"/>
                      <a:pt x="150487" y="251851"/>
                    </a:cubicBezTo>
                    <a:lnTo>
                      <a:pt x="126369" y="275977"/>
                    </a:lnTo>
                    <a:lnTo>
                      <a:pt x="117672" y="267271"/>
                    </a:lnTo>
                    <a:cubicBezTo>
                      <a:pt x="112868" y="262476"/>
                      <a:pt x="105080" y="262476"/>
                      <a:pt x="100284" y="267271"/>
                    </a:cubicBezTo>
                    <a:lnTo>
                      <a:pt x="3600" y="363956"/>
                    </a:lnTo>
                    <a:cubicBezTo>
                      <a:pt x="-1196" y="368751"/>
                      <a:pt x="-1204" y="376539"/>
                      <a:pt x="3600" y="381343"/>
                    </a:cubicBezTo>
                    <a:lnTo>
                      <a:pt x="38383" y="416126"/>
                    </a:lnTo>
                    <a:cubicBezTo>
                      <a:pt x="43187" y="420922"/>
                      <a:pt x="50966" y="420930"/>
                      <a:pt x="55770" y="416126"/>
                    </a:cubicBezTo>
                    <a:lnTo>
                      <a:pt x="152446" y="319442"/>
                    </a:lnTo>
                    <a:cubicBezTo>
                      <a:pt x="157250" y="314646"/>
                      <a:pt x="157250" y="306858"/>
                      <a:pt x="152446" y="302054"/>
                    </a:cubicBezTo>
                    <a:lnTo>
                      <a:pt x="143757" y="293365"/>
                    </a:lnTo>
                    <a:lnTo>
                      <a:pt x="167875" y="269239"/>
                    </a:lnTo>
                    <a:cubicBezTo>
                      <a:pt x="195493" y="292717"/>
                      <a:pt x="230202" y="305661"/>
                      <a:pt x="266895" y="305661"/>
                    </a:cubicBezTo>
                    <a:cubicBezTo>
                      <a:pt x="351168" y="305661"/>
                      <a:pt x="419726" y="237104"/>
                      <a:pt x="419726" y="152823"/>
                    </a:cubicBezTo>
                    <a:cubicBezTo>
                      <a:pt x="419726" y="68558"/>
                      <a:pt x="351168" y="0"/>
                      <a:pt x="266895" y="0"/>
                    </a:cubicBezTo>
                    <a:close/>
                    <a:moveTo>
                      <a:pt x="266895" y="73780"/>
                    </a:moveTo>
                    <a:cubicBezTo>
                      <a:pt x="223308" y="73780"/>
                      <a:pt x="187844" y="109243"/>
                      <a:pt x="187844" y="152831"/>
                    </a:cubicBezTo>
                    <a:cubicBezTo>
                      <a:pt x="187844" y="159618"/>
                      <a:pt x="182335" y="165127"/>
                      <a:pt x="175548" y="165127"/>
                    </a:cubicBezTo>
                    <a:cubicBezTo>
                      <a:pt x="168752" y="165127"/>
                      <a:pt x="163251" y="159618"/>
                      <a:pt x="163251" y="152831"/>
                    </a:cubicBezTo>
                    <a:cubicBezTo>
                      <a:pt x="163251" y="95684"/>
                      <a:pt x="209749" y="49187"/>
                      <a:pt x="266895" y="49187"/>
                    </a:cubicBezTo>
                    <a:cubicBezTo>
                      <a:pt x="273683" y="49187"/>
                      <a:pt x="279192" y="54695"/>
                      <a:pt x="279192" y="61483"/>
                    </a:cubicBezTo>
                    <a:cubicBezTo>
                      <a:pt x="279192" y="68271"/>
                      <a:pt x="273683" y="73780"/>
                      <a:pt x="266895" y="73780"/>
                    </a:cubicBezTo>
                    <a:close/>
                  </a:path>
                </a:pathLst>
              </a:custGeom>
              <a:solidFill>
                <a:schemeClr val="bg1"/>
              </a:solidFill>
              <a:ln w="81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BDA97FC0-499A-4FA8-AF49-DC8AA067D09E}"/>
                  </a:ext>
                </a:extLst>
              </p:cNvPr>
              <p:cNvGrpSpPr/>
              <p:nvPr/>
            </p:nvGrpSpPr>
            <p:grpSpPr>
              <a:xfrm>
                <a:off x="4862797" y="4074766"/>
                <a:ext cx="180152" cy="247953"/>
                <a:chOff x="1300075" y="4036039"/>
                <a:chExt cx="215612" cy="296758"/>
              </a:xfrm>
            </p:grpSpPr>
            <p:sp>
              <p:nvSpPr>
                <p:cNvPr id="313" name="Freeform: Shape 312">
                  <a:extLst>
                    <a:ext uri="{FF2B5EF4-FFF2-40B4-BE49-F238E27FC236}">
                      <a16:creationId xmlns:a16="http://schemas.microsoft.com/office/drawing/2014/main" id="{C1B33C7B-50F5-4ACB-B3A5-525B0FE52B08}"/>
                    </a:ext>
                  </a:extLst>
                </p:cNvPr>
                <p:cNvSpPr/>
                <p:nvPr/>
              </p:nvSpPr>
              <p:spPr>
                <a:xfrm>
                  <a:off x="1300075" y="4175724"/>
                  <a:ext cx="215612" cy="157073"/>
                </a:xfrm>
                <a:custGeom>
                  <a:avLst/>
                  <a:gdLst>
                    <a:gd name="connsiteX0" fmla="*/ 292971 w 304956"/>
                    <a:gd name="connsiteY0" fmla="*/ 0 h 222159"/>
                    <a:gd name="connsiteX1" fmla="*/ 12297 w 304956"/>
                    <a:gd name="connsiteY1" fmla="*/ 0 h 222159"/>
                    <a:gd name="connsiteX2" fmla="*/ 0 w 304956"/>
                    <a:gd name="connsiteY2" fmla="*/ 12297 h 222159"/>
                    <a:gd name="connsiteX3" fmla="*/ 0 w 304956"/>
                    <a:gd name="connsiteY3" fmla="*/ 141690 h 222159"/>
                    <a:gd name="connsiteX4" fmla="*/ 80477 w 304956"/>
                    <a:gd name="connsiteY4" fmla="*/ 222159 h 222159"/>
                    <a:gd name="connsiteX5" fmla="*/ 224799 w 304956"/>
                    <a:gd name="connsiteY5" fmla="*/ 222159 h 222159"/>
                    <a:gd name="connsiteX6" fmla="*/ 305268 w 304956"/>
                    <a:gd name="connsiteY6" fmla="*/ 141690 h 222159"/>
                    <a:gd name="connsiteX7" fmla="*/ 305268 w 304956"/>
                    <a:gd name="connsiteY7" fmla="*/ 12297 h 222159"/>
                    <a:gd name="connsiteX8" fmla="*/ 292971 w 304956"/>
                    <a:gd name="connsiteY8" fmla="*/ 0 h 222159"/>
                    <a:gd name="connsiteX9" fmla="*/ 171735 w 304956"/>
                    <a:gd name="connsiteY9" fmla="*/ 104275 h 222159"/>
                    <a:gd name="connsiteX10" fmla="*/ 164931 w 304956"/>
                    <a:gd name="connsiteY10" fmla="*/ 104275 h 222159"/>
                    <a:gd name="connsiteX11" fmla="*/ 164931 w 304956"/>
                    <a:gd name="connsiteY11" fmla="*/ 130180 h 222159"/>
                    <a:gd name="connsiteX12" fmla="*/ 152634 w 304956"/>
                    <a:gd name="connsiteY12" fmla="*/ 142477 h 222159"/>
                    <a:gd name="connsiteX13" fmla="*/ 140337 w 304956"/>
                    <a:gd name="connsiteY13" fmla="*/ 130180 h 222159"/>
                    <a:gd name="connsiteX14" fmla="*/ 140337 w 304956"/>
                    <a:gd name="connsiteY14" fmla="*/ 104275 h 222159"/>
                    <a:gd name="connsiteX15" fmla="*/ 133533 w 304956"/>
                    <a:gd name="connsiteY15" fmla="*/ 104275 h 222159"/>
                    <a:gd name="connsiteX16" fmla="*/ 121237 w 304956"/>
                    <a:gd name="connsiteY16" fmla="*/ 91979 h 222159"/>
                    <a:gd name="connsiteX17" fmla="*/ 133533 w 304956"/>
                    <a:gd name="connsiteY17" fmla="*/ 79682 h 222159"/>
                    <a:gd name="connsiteX18" fmla="*/ 171735 w 304956"/>
                    <a:gd name="connsiteY18" fmla="*/ 79682 h 222159"/>
                    <a:gd name="connsiteX19" fmla="*/ 184031 w 304956"/>
                    <a:gd name="connsiteY19" fmla="*/ 91979 h 222159"/>
                    <a:gd name="connsiteX20" fmla="*/ 171735 w 304956"/>
                    <a:gd name="connsiteY20" fmla="*/ 104275 h 22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304956" h="222159">
                      <a:moveTo>
                        <a:pt x="292971" y="0"/>
                      </a:moveTo>
                      <a:lnTo>
                        <a:pt x="12297" y="0"/>
                      </a:lnTo>
                      <a:cubicBezTo>
                        <a:pt x="5509" y="0"/>
                        <a:pt x="0" y="5509"/>
                        <a:pt x="0" y="12297"/>
                      </a:cubicBezTo>
                      <a:lnTo>
                        <a:pt x="0" y="141690"/>
                      </a:lnTo>
                      <a:cubicBezTo>
                        <a:pt x="0" y="186056"/>
                        <a:pt x="36103" y="222159"/>
                        <a:pt x="80477" y="222159"/>
                      </a:cubicBezTo>
                      <a:lnTo>
                        <a:pt x="224799" y="222159"/>
                      </a:lnTo>
                      <a:cubicBezTo>
                        <a:pt x="269165" y="222159"/>
                        <a:pt x="305268" y="186056"/>
                        <a:pt x="305268" y="141690"/>
                      </a:cubicBezTo>
                      <a:lnTo>
                        <a:pt x="305268" y="12297"/>
                      </a:lnTo>
                      <a:cubicBezTo>
                        <a:pt x="305268" y="5509"/>
                        <a:pt x="299759" y="0"/>
                        <a:pt x="292971" y="0"/>
                      </a:cubicBezTo>
                      <a:close/>
                      <a:moveTo>
                        <a:pt x="171735" y="104275"/>
                      </a:moveTo>
                      <a:lnTo>
                        <a:pt x="164931" y="104275"/>
                      </a:lnTo>
                      <a:lnTo>
                        <a:pt x="164931" y="130180"/>
                      </a:lnTo>
                      <a:cubicBezTo>
                        <a:pt x="164931" y="136976"/>
                        <a:pt x="159422" y="142477"/>
                        <a:pt x="152634" y="142477"/>
                      </a:cubicBezTo>
                      <a:cubicBezTo>
                        <a:pt x="145846" y="142477"/>
                        <a:pt x="140337" y="136976"/>
                        <a:pt x="140337" y="130180"/>
                      </a:cubicBezTo>
                      <a:lnTo>
                        <a:pt x="140337" y="104275"/>
                      </a:lnTo>
                      <a:lnTo>
                        <a:pt x="133533" y="104275"/>
                      </a:lnTo>
                      <a:cubicBezTo>
                        <a:pt x="126737" y="104275"/>
                        <a:pt x="121237" y="98767"/>
                        <a:pt x="121237" y="91979"/>
                      </a:cubicBezTo>
                      <a:cubicBezTo>
                        <a:pt x="121237" y="85183"/>
                        <a:pt x="126737" y="79682"/>
                        <a:pt x="133533" y="79682"/>
                      </a:cubicBezTo>
                      <a:lnTo>
                        <a:pt x="171735" y="79682"/>
                      </a:lnTo>
                      <a:cubicBezTo>
                        <a:pt x="178531" y="79682"/>
                        <a:pt x="184031" y="85183"/>
                        <a:pt x="184031" y="91979"/>
                      </a:cubicBezTo>
                      <a:cubicBezTo>
                        <a:pt x="184031" y="98767"/>
                        <a:pt x="178531" y="104275"/>
                        <a:pt x="171735" y="1042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4" name="Freeform: Shape 313">
                  <a:extLst>
                    <a:ext uri="{FF2B5EF4-FFF2-40B4-BE49-F238E27FC236}">
                      <a16:creationId xmlns:a16="http://schemas.microsoft.com/office/drawing/2014/main" id="{0081B172-FDB1-4EA6-A473-8B538AF2BD7D}"/>
                    </a:ext>
                  </a:extLst>
                </p:cNvPr>
                <p:cNvSpPr/>
                <p:nvPr/>
              </p:nvSpPr>
              <p:spPr>
                <a:xfrm>
                  <a:off x="1317463" y="4036039"/>
                  <a:ext cx="180836" cy="122297"/>
                </a:xfrm>
                <a:custGeom>
                  <a:avLst/>
                  <a:gdLst>
                    <a:gd name="connsiteX0" fmla="*/ 128041 w 255769"/>
                    <a:gd name="connsiteY0" fmla="*/ 0 h 172972"/>
                    <a:gd name="connsiteX1" fmla="*/ 0 w 255769"/>
                    <a:gd name="connsiteY1" fmla="*/ 128041 h 172972"/>
                    <a:gd name="connsiteX2" fmla="*/ 0 w 255769"/>
                    <a:gd name="connsiteY2" fmla="*/ 172973 h 172972"/>
                    <a:gd name="connsiteX3" fmla="*/ 24593 w 255769"/>
                    <a:gd name="connsiteY3" fmla="*/ 172973 h 172972"/>
                    <a:gd name="connsiteX4" fmla="*/ 24593 w 255769"/>
                    <a:gd name="connsiteY4" fmla="*/ 128041 h 172972"/>
                    <a:gd name="connsiteX5" fmla="*/ 128041 w 255769"/>
                    <a:gd name="connsiteY5" fmla="*/ 24593 h 172972"/>
                    <a:gd name="connsiteX6" fmla="*/ 231488 w 255769"/>
                    <a:gd name="connsiteY6" fmla="*/ 128041 h 172972"/>
                    <a:gd name="connsiteX7" fmla="*/ 231488 w 255769"/>
                    <a:gd name="connsiteY7" fmla="*/ 172973 h 172972"/>
                    <a:gd name="connsiteX8" fmla="*/ 256081 w 255769"/>
                    <a:gd name="connsiteY8" fmla="*/ 172973 h 172972"/>
                    <a:gd name="connsiteX9" fmla="*/ 256081 w 255769"/>
                    <a:gd name="connsiteY9" fmla="*/ 128041 h 172972"/>
                    <a:gd name="connsiteX10" fmla="*/ 128041 w 255769"/>
                    <a:gd name="connsiteY10" fmla="*/ 0 h 1729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55769" h="172972">
                      <a:moveTo>
                        <a:pt x="128041" y="0"/>
                      </a:moveTo>
                      <a:cubicBezTo>
                        <a:pt x="57442" y="0"/>
                        <a:pt x="0" y="57442"/>
                        <a:pt x="0" y="128041"/>
                      </a:cubicBezTo>
                      <a:lnTo>
                        <a:pt x="0" y="172973"/>
                      </a:lnTo>
                      <a:lnTo>
                        <a:pt x="24593" y="172973"/>
                      </a:lnTo>
                      <a:lnTo>
                        <a:pt x="24593" y="128041"/>
                      </a:lnTo>
                      <a:cubicBezTo>
                        <a:pt x="24593" y="71001"/>
                        <a:pt x="71001" y="24593"/>
                        <a:pt x="128041" y="24593"/>
                      </a:cubicBezTo>
                      <a:cubicBezTo>
                        <a:pt x="185081" y="24593"/>
                        <a:pt x="231488" y="71001"/>
                        <a:pt x="231488" y="128041"/>
                      </a:cubicBezTo>
                      <a:lnTo>
                        <a:pt x="231488" y="172973"/>
                      </a:lnTo>
                      <a:lnTo>
                        <a:pt x="256081" y="172973"/>
                      </a:lnTo>
                      <a:lnTo>
                        <a:pt x="256081" y="128041"/>
                      </a:lnTo>
                      <a:cubicBezTo>
                        <a:pt x="256081" y="57442"/>
                        <a:pt x="198640" y="0"/>
                        <a:pt x="12804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78A61B8C-2F81-4996-B063-38E651DF813C}"/>
                  </a:ext>
                </a:extLst>
              </p:cNvPr>
              <p:cNvGrpSpPr/>
              <p:nvPr/>
            </p:nvGrpSpPr>
            <p:grpSpPr>
              <a:xfrm>
                <a:off x="4875263" y="5088151"/>
                <a:ext cx="209655" cy="209684"/>
                <a:chOff x="1239194" y="4982948"/>
                <a:chExt cx="336984" cy="337031"/>
              </a:xfrm>
            </p:grpSpPr>
            <p:sp>
              <p:nvSpPr>
                <p:cNvPr id="315" name="Freeform: Shape 314">
                  <a:extLst>
                    <a:ext uri="{FF2B5EF4-FFF2-40B4-BE49-F238E27FC236}">
                      <a16:creationId xmlns:a16="http://schemas.microsoft.com/office/drawing/2014/main" id="{B5B31038-C12F-4492-8C46-0B0381474F52}"/>
                    </a:ext>
                  </a:extLst>
                </p:cNvPr>
                <p:cNvSpPr/>
                <p:nvPr/>
              </p:nvSpPr>
              <p:spPr>
                <a:xfrm>
                  <a:off x="1239194" y="5023024"/>
                  <a:ext cx="158144" cy="246442"/>
                </a:xfrm>
                <a:custGeom>
                  <a:avLst/>
                  <a:gdLst>
                    <a:gd name="connsiteX0" fmla="*/ 184933 w 196746"/>
                    <a:gd name="connsiteY0" fmla="*/ 0 h 306595"/>
                    <a:gd name="connsiteX1" fmla="*/ 0 w 196746"/>
                    <a:gd name="connsiteY1" fmla="*/ 184931 h 306595"/>
                    <a:gd name="connsiteX2" fmla="*/ 45752 w 196746"/>
                    <a:gd name="connsiteY2" fmla="*/ 306723 h 306595"/>
                    <a:gd name="connsiteX3" fmla="*/ 197230 w 196746"/>
                    <a:gd name="connsiteY3" fmla="*/ 155247 h 306595"/>
                    <a:gd name="connsiteX4" fmla="*/ 197230 w 196746"/>
                    <a:gd name="connsiteY4" fmla="*/ 12297 h 306595"/>
                    <a:gd name="connsiteX5" fmla="*/ 184933 w 196746"/>
                    <a:gd name="connsiteY5" fmla="*/ 0 h 30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6746" h="306595">
                      <a:moveTo>
                        <a:pt x="184933" y="0"/>
                      </a:moveTo>
                      <a:cubicBezTo>
                        <a:pt x="82724" y="0"/>
                        <a:pt x="0" y="82706"/>
                        <a:pt x="0" y="184931"/>
                      </a:cubicBezTo>
                      <a:cubicBezTo>
                        <a:pt x="0" y="230214"/>
                        <a:pt x="16158" y="273007"/>
                        <a:pt x="45752" y="306723"/>
                      </a:cubicBezTo>
                      <a:cubicBezTo>
                        <a:pt x="46755" y="305720"/>
                        <a:pt x="195756" y="156721"/>
                        <a:pt x="197230" y="155247"/>
                      </a:cubicBezTo>
                      <a:cubicBezTo>
                        <a:pt x="197230" y="137621"/>
                        <a:pt x="197230" y="30114"/>
                        <a:pt x="197230" y="12297"/>
                      </a:cubicBezTo>
                      <a:cubicBezTo>
                        <a:pt x="197230" y="5509"/>
                        <a:pt x="191721" y="0"/>
                        <a:pt x="18493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6" name="Freeform: Shape 315">
                  <a:extLst>
                    <a:ext uri="{FF2B5EF4-FFF2-40B4-BE49-F238E27FC236}">
                      <a16:creationId xmlns:a16="http://schemas.microsoft.com/office/drawing/2014/main" id="{E5830E53-5897-483B-BA5C-C9012AD09EA3}"/>
                    </a:ext>
                  </a:extLst>
                </p:cNvPr>
                <p:cNvSpPr/>
                <p:nvPr/>
              </p:nvSpPr>
              <p:spPr>
                <a:xfrm>
                  <a:off x="1289951" y="5181602"/>
                  <a:ext cx="101475" cy="138377"/>
                </a:xfrm>
                <a:custGeom>
                  <a:avLst/>
                  <a:gdLst>
                    <a:gd name="connsiteX0" fmla="*/ 126819 w 126245"/>
                    <a:gd name="connsiteY0" fmla="*/ 172502 h 172152"/>
                    <a:gd name="connsiteX1" fmla="*/ 126819 w 126245"/>
                    <a:gd name="connsiteY1" fmla="*/ 0 h 172152"/>
                    <a:gd name="connsiteX2" fmla="*/ 0 w 126245"/>
                    <a:gd name="connsiteY2" fmla="*/ 126825 h 172152"/>
                    <a:gd name="connsiteX3" fmla="*/ 126819 w 126245"/>
                    <a:gd name="connsiteY3" fmla="*/ 172502 h 172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245" h="172152">
                      <a:moveTo>
                        <a:pt x="126819" y="172502"/>
                      </a:moveTo>
                      <a:lnTo>
                        <a:pt x="126819" y="0"/>
                      </a:lnTo>
                      <a:lnTo>
                        <a:pt x="0" y="126825"/>
                      </a:lnTo>
                      <a:cubicBezTo>
                        <a:pt x="35933" y="158363"/>
                        <a:pt x="81336" y="173842"/>
                        <a:pt x="126819" y="1725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317" name="Freeform: Shape 316">
                  <a:extLst>
                    <a:ext uri="{FF2B5EF4-FFF2-40B4-BE49-F238E27FC236}">
                      <a16:creationId xmlns:a16="http://schemas.microsoft.com/office/drawing/2014/main" id="{97153F4A-7A9C-432F-9785-68B9C6A2B910}"/>
                    </a:ext>
                  </a:extLst>
                </p:cNvPr>
                <p:cNvSpPr/>
                <p:nvPr/>
              </p:nvSpPr>
              <p:spPr>
                <a:xfrm>
                  <a:off x="1411657" y="5161787"/>
                  <a:ext cx="124539" cy="156168"/>
                </a:xfrm>
                <a:custGeom>
                  <a:avLst/>
                  <a:gdLst>
                    <a:gd name="connsiteX0" fmla="*/ 143010 w 154937"/>
                    <a:gd name="connsiteY0" fmla="*/ 0 h 194286"/>
                    <a:gd name="connsiteX1" fmla="*/ 57 w 154937"/>
                    <a:gd name="connsiteY1" fmla="*/ 0 h 194286"/>
                    <a:gd name="connsiteX2" fmla="*/ 0 w 154937"/>
                    <a:gd name="connsiteY2" fmla="*/ 194874 h 194286"/>
                    <a:gd name="connsiteX3" fmla="*/ 101136 w 154937"/>
                    <a:gd name="connsiteY3" fmla="*/ 143065 h 194286"/>
                    <a:gd name="connsiteX4" fmla="*/ 155306 w 154937"/>
                    <a:gd name="connsiteY4" fmla="*/ 12296 h 194286"/>
                    <a:gd name="connsiteX5" fmla="*/ 143010 w 154937"/>
                    <a:gd name="connsiteY5" fmla="*/ 0 h 194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4937" h="194286">
                      <a:moveTo>
                        <a:pt x="143010" y="0"/>
                      </a:moveTo>
                      <a:lnTo>
                        <a:pt x="57" y="0"/>
                      </a:lnTo>
                      <a:lnTo>
                        <a:pt x="0" y="194874"/>
                      </a:lnTo>
                      <a:cubicBezTo>
                        <a:pt x="38000" y="188803"/>
                        <a:pt x="73231" y="170983"/>
                        <a:pt x="101136" y="143065"/>
                      </a:cubicBezTo>
                      <a:cubicBezTo>
                        <a:pt x="136066" y="108135"/>
                        <a:pt x="155306" y="61695"/>
                        <a:pt x="155306" y="12296"/>
                      </a:cubicBezTo>
                      <a:cubicBezTo>
                        <a:pt x="155306" y="5509"/>
                        <a:pt x="149798" y="0"/>
                        <a:pt x="14301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8" name="Freeform: Shape 317">
                  <a:extLst>
                    <a:ext uri="{FF2B5EF4-FFF2-40B4-BE49-F238E27FC236}">
                      <a16:creationId xmlns:a16="http://schemas.microsoft.com/office/drawing/2014/main" id="{F5F52545-D597-4946-B0C0-86B89ED5DE8D}"/>
                    </a:ext>
                  </a:extLst>
                </p:cNvPr>
                <p:cNvSpPr/>
                <p:nvPr/>
              </p:nvSpPr>
              <p:spPr>
                <a:xfrm>
                  <a:off x="1418034" y="4982948"/>
                  <a:ext cx="158144" cy="158145"/>
                </a:xfrm>
                <a:custGeom>
                  <a:avLst/>
                  <a:gdLst>
                    <a:gd name="connsiteX0" fmla="*/ 143060 w 196746"/>
                    <a:gd name="connsiteY0" fmla="*/ 54170 h 196746"/>
                    <a:gd name="connsiteX1" fmla="*/ 12297 w 196746"/>
                    <a:gd name="connsiteY1" fmla="*/ 0 h 196746"/>
                    <a:gd name="connsiteX2" fmla="*/ 0 w 196746"/>
                    <a:gd name="connsiteY2" fmla="*/ 12297 h 196746"/>
                    <a:gd name="connsiteX3" fmla="*/ 0 w 196746"/>
                    <a:gd name="connsiteY3" fmla="*/ 184931 h 196746"/>
                    <a:gd name="connsiteX4" fmla="*/ 12297 w 196746"/>
                    <a:gd name="connsiteY4" fmla="*/ 197227 h 196746"/>
                    <a:gd name="connsiteX5" fmla="*/ 184935 w 196746"/>
                    <a:gd name="connsiteY5" fmla="*/ 197227 h 196746"/>
                    <a:gd name="connsiteX6" fmla="*/ 197231 w 196746"/>
                    <a:gd name="connsiteY6" fmla="*/ 184931 h 196746"/>
                    <a:gd name="connsiteX7" fmla="*/ 143060 w 196746"/>
                    <a:gd name="connsiteY7" fmla="*/ 54170 h 196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6746" h="196746">
                      <a:moveTo>
                        <a:pt x="143060" y="54170"/>
                      </a:moveTo>
                      <a:cubicBezTo>
                        <a:pt x="108129" y="19240"/>
                        <a:pt x="61689" y="0"/>
                        <a:pt x="12297" y="0"/>
                      </a:cubicBezTo>
                      <a:cubicBezTo>
                        <a:pt x="5501" y="0"/>
                        <a:pt x="0" y="5509"/>
                        <a:pt x="0" y="12297"/>
                      </a:cubicBezTo>
                      <a:lnTo>
                        <a:pt x="0" y="184931"/>
                      </a:lnTo>
                      <a:cubicBezTo>
                        <a:pt x="0" y="191704"/>
                        <a:pt x="5479" y="197227"/>
                        <a:pt x="12297" y="197227"/>
                      </a:cubicBezTo>
                      <a:lnTo>
                        <a:pt x="184935" y="197227"/>
                      </a:lnTo>
                      <a:cubicBezTo>
                        <a:pt x="191723" y="197227"/>
                        <a:pt x="197231" y="191727"/>
                        <a:pt x="197231" y="184931"/>
                      </a:cubicBezTo>
                      <a:cubicBezTo>
                        <a:pt x="197231" y="135539"/>
                        <a:pt x="177991" y="89100"/>
                        <a:pt x="143060" y="541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EAD420B-7285-4D5E-9E25-FD0DA51AC415}"/>
                  </a:ext>
                </a:extLst>
              </p:cNvPr>
              <p:cNvGrpSpPr/>
              <p:nvPr/>
            </p:nvGrpSpPr>
            <p:grpSpPr>
              <a:xfrm>
                <a:off x="4918262" y="6095281"/>
                <a:ext cx="206863" cy="206457"/>
                <a:chOff x="1286486" y="5993040"/>
                <a:chExt cx="241306" cy="240832"/>
              </a:xfrm>
            </p:grpSpPr>
            <p:sp>
              <p:nvSpPr>
                <p:cNvPr id="319" name="Freeform: Shape 318">
                  <a:extLst>
                    <a:ext uri="{FF2B5EF4-FFF2-40B4-BE49-F238E27FC236}">
                      <a16:creationId xmlns:a16="http://schemas.microsoft.com/office/drawing/2014/main" id="{7F8E1691-5038-4D45-B61A-DC60C2170F79}"/>
                    </a:ext>
                  </a:extLst>
                </p:cNvPr>
                <p:cNvSpPr/>
                <p:nvPr/>
              </p:nvSpPr>
              <p:spPr>
                <a:xfrm>
                  <a:off x="1323776" y="6080688"/>
                  <a:ext cx="115940" cy="115939"/>
                </a:xfrm>
                <a:custGeom>
                  <a:avLst/>
                  <a:gdLst>
                    <a:gd name="connsiteX0" fmla="*/ 64620 w 201664"/>
                    <a:gd name="connsiteY0" fmla="*/ 193721 h 201664"/>
                    <a:gd name="connsiteX1" fmla="*/ 12928 w 201664"/>
                    <a:gd name="connsiteY1" fmla="*/ 202259 h 201664"/>
                    <a:gd name="connsiteX2" fmla="*/ 153 w 201664"/>
                    <a:gd name="connsiteY2" fmla="*/ 189484 h 201664"/>
                    <a:gd name="connsiteX3" fmla="*/ 8691 w 201664"/>
                    <a:gd name="connsiteY3" fmla="*/ 137793 h 201664"/>
                    <a:gd name="connsiteX4" fmla="*/ 17778 w 201664"/>
                    <a:gd name="connsiteY4" fmla="*/ 133340 h 201664"/>
                    <a:gd name="connsiteX5" fmla="*/ 28610 w 201664"/>
                    <a:gd name="connsiteY5" fmla="*/ 133738 h 201664"/>
                    <a:gd name="connsiteX6" fmla="*/ 28679 w 201664"/>
                    <a:gd name="connsiteY6" fmla="*/ 133704 h 201664"/>
                    <a:gd name="connsiteX7" fmla="*/ 197428 w 201664"/>
                    <a:gd name="connsiteY7" fmla="*/ 658 h 201664"/>
                    <a:gd name="connsiteX8" fmla="*/ 201753 w 201664"/>
                    <a:gd name="connsiteY8" fmla="*/ 4983 h 201664"/>
                    <a:gd name="connsiteX9" fmla="*/ 68270 w 201664"/>
                    <a:gd name="connsiteY9" fmla="*/ 174944 h 201664"/>
                    <a:gd name="connsiteX10" fmla="*/ 69074 w 201664"/>
                    <a:gd name="connsiteY10" fmla="*/ 184638 h 201664"/>
                    <a:gd name="connsiteX11" fmla="*/ 64620 w 201664"/>
                    <a:gd name="connsiteY11" fmla="*/ 193721 h 2016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01664" h="201664">
                      <a:moveTo>
                        <a:pt x="64620" y="193721"/>
                      </a:moveTo>
                      <a:lnTo>
                        <a:pt x="12928" y="202259"/>
                      </a:lnTo>
                      <a:cubicBezTo>
                        <a:pt x="5418" y="203500"/>
                        <a:pt x="-1088" y="196994"/>
                        <a:pt x="153" y="189484"/>
                      </a:cubicBezTo>
                      <a:lnTo>
                        <a:pt x="8691" y="137793"/>
                      </a:lnTo>
                      <a:cubicBezTo>
                        <a:pt x="9387" y="133581"/>
                        <a:pt x="14071" y="131223"/>
                        <a:pt x="17778" y="133340"/>
                      </a:cubicBezTo>
                      <a:cubicBezTo>
                        <a:pt x="20694" y="135004"/>
                        <a:pt x="24205" y="135677"/>
                        <a:pt x="28610" y="133738"/>
                      </a:cubicBezTo>
                      <a:cubicBezTo>
                        <a:pt x="28636" y="133730"/>
                        <a:pt x="28662" y="133721"/>
                        <a:pt x="28679" y="133704"/>
                      </a:cubicBezTo>
                      <a:cubicBezTo>
                        <a:pt x="30671" y="132878"/>
                        <a:pt x="45184" y="115919"/>
                        <a:pt x="197428" y="658"/>
                      </a:cubicBezTo>
                      <a:cubicBezTo>
                        <a:pt x="200288" y="-1506"/>
                        <a:pt x="203918" y="2124"/>
                        <a:pt x="201753" y="4983"/>
                      </a:cubicBezTo>
                      <a:cubicBezTo>
                        <a:pt x="85709" y="158230"/>
                        <a:pt x="69188" y="171910"/>
                        <a:pt x="68270" y="174944"/>
                      </a:cubicBezTo>
                      <a:cubicBezTo>
                        <a:pt x="67019" y="179006"/>
                        <a:pt x="67593" y="182034"/>
                        <a:pt x="69074" y="184638"/>
                      </a:cubicBezTo>
                      <a:cubicBezTo>
                        <a:pt x="71182" y="188348"/>
                        <a:pt x="68830" y="193026"/>
                        <a:pt x="64620" y="1937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0" name="Freeform: Shape 319">
                  <a:extLst>
                    <a:ext uri="{FF2B5EF4-FFF2-40B4-BE49-F238E27FC236}">
                      <a16:creationId xmlns:a16="http://schemas.microsoft.com/office/drawing/2014/main" id="{85E7512B-7839-44FD-B2AF-EBD1D3C81037}"/>
                    </a:ext>
                  </a:extLst>
                </p:cNvPr>
                <p:cNvSpPr/>
                <p:nvPr/>
              </p:nvSpPr>
              <p:spPr>
                <a:xfrm>
                  <a:off x="1286486" y="5993040"/>
                  <a:ext cx="241306" cy="240832"/>
                </a:xfrm>
                <a:custGeom>
                  <a:avLst/>
                  <a:gdLst>
                    <a:gd name="connsiteX0" fmla="*/ 419194 w 419725"/>
                    <a:gd name="connsiteY0" fmla="*/ 11221 h 418905"/>
                    <a:gd name="connsiteX1" fmla="*/ 272302 w 419725"/>
                    <a:gd name="connsiteY1" fmla="*/ 409937 h 418905"/>
                    <a:gd name="connsiteX2" fmla="*/ 247701 w 419725"/>
                    <a:gd name="connsiteY2" fmla="*/ 415340 h 418905"/>
                    <a:gd name="connsiteX3" fmla="*/ 171795 w 419725"/>
                    <a:gd name="connsiteY3" fmla="*/ 339435 h 418905"/>
                    <a:gd name="connsiteX4" fmla="*/ 170427 w 419725"/>
                    <a:gd name="connsiteY4" fmla="*/ 319548 h 418905"/>
                    <a:gd name="connsiteX5" fmla="*/ 333066 w 419725"/>
                    <a:gd name="connsiteY5" fmla="*/ 104712 h 418905"/>
                    <a:gd name="connsiteX6" fmla="*/ 315014 w 419725"/>
                    <a:gd name="connsiteY6" fmla="*/ 86660 h 418905"/>
                    <a:gd name="connsiteX7" fmla="*/ 100178 w 419725"/>
                    <a:gd name="connsiteY7" fmla="*/ 249300 h 418905"/>
                    <a:gd name="connsiteX8" fmla="*/ 80290 w 419725"/>
                    <a:gd name="connsiteY8" fmla="*/ 247931 h 418905"/>
                    <a:gd name="connsiteX9" fmla="*/ 4385 w 419725"/>
                    <a:gd name="connsiteY9" fmla="*/ 172025 h 418905"/>
                    <a:gd name="connsiteX10" fmla="*/ 9788 w 419725"/>
                    <a:gd name="connsiteY10" fmla="*/ 147424 h 418905"/>
                    <a:gd name="connsiteX11" fmla="*/ 408505 w 419725"/>
                    <a:gd name="connsiteY11" fmla="*/ 531 h 418905"/>
                    <a:gd name="connsiteX12" fmla="*/ 419194 w 419725"/>
                    <a:gd name="connsiteY12" fmla="*/ 11221 h 4189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19725" h="418905">
                      <a:moveTo>
                        <a:pt x="419194" y="11221"/>
                      </a:moveTo>
                      <a:lnTo>
                        <a:pt x="272302" y="409937"/>
                      </a:lnTo>
                      <a:cubicBezTo>
                        <a:pt x="268530" y="420175"/>
                        <a:pt x="255416" y="423056"/>
                        <a:pt x="247701" y="415340"/>
                      </a:cubicBezTo>
                      <a:lnTo>
                        <a:pt x="171795" y="339435"/>
                      </a:lnTo>
                      <a:cubicBezTo>
                        <a:pt x="166438" y="334077"/>
                        <a:pt x="165853" y="325589"/>
                        <a:pt x="170427" y="319548"/>
                      </a:cubicBezTo>
                      <a:lnTo>
                        <a:pt x="333066" y="104712"/>
                      </a:lnTo>
                      <a:cubicBezTo>
                        <a:pt x="342279" y="92379"/>
                        <a:pt x="326544" y="77987"/>
                        <a:pt x="315014" y="86660"/>
                      </a:cubicBezTo>
                      <a:lnTo>
                        <a:pt x="100178" y="249300"/>
                      </a:lnTo>
                      <a:cubicBezTo>
                        <a:pt x="94137" y="253873"/>
                        <a:pt x="85648" y="253289"/>
                        <a:pt x="80290" y="247931"/>
                      </a:cubicBezTo>
                      <a:lnTo>
                        <a:pt x="4385" y="172025"/>
                      </a:lnTo>
                      <a:cubicBezTo>
                        <a:pt x="-3331" y="164309"/>
                        <a:pt x="-450" y="151195"/>
                        <a:pt x="9788" y="147424"/>
                      </a:cubicBezTo>
                      <a:lnTo>
                        <a:pt x="408505" y="531"/>
                      </a:lnTo>
                      <a:cubicBezTo>
                        <a:pt x="415169" y="-1924"/>
                        <a:pt x="421650" y="4556"/>
                        <a:pt x="419194" y="112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125494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32518BEE-D6FD-448F-A98C-E8B3430C268E}"/>
              </a:ext>
            </a:extLst>
          </p:cNvPr>
          <p:cNvSpPr txBox="1"/>
          <p:nvPr/>
        </p:nvSpPr>
        <p:spPr>
          <a:xfrm>
            <a:off x="1552244" y="562462"/>
            <a:ext cx="90875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Stage 3D Cylindrical 4 Lay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44A9717-67A3-44EA-B613-03CBBFBCF775}"/>
              </a:ext>
            </a:extLst>
          </p:cNvPr>
          <p:cNvSpPr txBox="1"/>
          <p:nvPr/>
        </p:nvSpPr>
        <p:spPr>
          <a:xfrm>
            <a:off x="2919638" y="5606423"/>
            <a:ext cx="6425750" cy="667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1400" dirty="0">
                <a:solidFill>
                  <a:schemeClr val="bg1"/>
                </a:solidFill>
                <a:latin typeface="+mj-lt"/>
              </a:rPr>
              <a:t>Lorem Ipsum is simply dummy text of the printing and typesetting industry. Lorem Ipsum has been the industry's standard dummy text ever since the 1500s.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22FCDDF-22B1-4E53-856C-DB34FFB0A6C3}"/>
              </a:ext>
            </a:extLst>
          </p:cNvPr>
          <p:cNvGrpSpPr/>
          <p:nvPr/>
        </p:nvGrpSpPr>
        <p:grpSpPr>
          <a:xfrm>
            <a:off x="822655" y="1664324"/>
            <a:ext cx="10500315" cy="3671234"/>
            <a:chOff x="803605" y="1554461"/>
            <a:chExt cx="10500315" cy="367123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41B8C36-6C34-4A2D-ABEF-D926760243A4}"/>
                </a:ext>
              </a:extLst>
            </p:cNvPr>
            <p:cNvGrpSpPr/>
            <p:nvPr/>
          </p:nvGrpSpPr>
          <p:grpSpPr>
            <a:xfrm>
              <a:off x="4663476" y="1554461"/>
              <a:ext cx="3560681" cy="3560681"/>
              <a:chOff x="3996812" y="1696064"/>
              <a:chExt cx="4527755" cy="4527755"/>
            </a:xfrm>
            <a:effectLst>
              <a:outerShdw blurRad="317500" dist="12700" dir="2700000" sy="-23000" kx="-800400" algn="bl" rotWithShape="0">
                <a:prstClr val="black">
                  <a:alpha val="8000"/>
                </a:prstClr>
              </a:outerShdw>
            </a:effectLst>
            <a:scene3d>
              <a:camera prst="isometricOffAxis2Right">
                <a:rot lat="600000" lon="18600000" rev="0"/>
              </a:camera>
              <a:lightRig rig="soft" dir="t">
                <a:rot lat="0" lon="0" rev="18600000"/>
              </a:lightRig>
            </a:scene3d>
          </p:grpSpPr>
          <p:sp>
            <p:nvSpPr>
              <p:cNvPr id="2" name="Block Arc 1">
                <a:extLst>
                  <a:ext uri="{FF2B5EF4-FFF2-40B4-BE49-F238E27FC236}">
                    <a16:creationId xmlns:a16="http://schemas.microsoft.com/office/drawing/2014/main" id="{2640AE79-3A29-4492-8574-9B4219DBA6F8}"/>
                  </a:ext>
                </a:extLst>
              </p:cNvPr>
              <p:cNvSpPr/>
              <p:nvPr/>
            </p:nvSpPr>
            <p:spPr>
              <a:xfrm>
                <a:off x="3996812" y="1696064"/>
                <a:ext cx="4527755" cy="4527755"/>
              </a:xfrm>
              <a:prstGeom prst="blockArc">
                <a:avLst>
                  <a:gd name="adj1" fmla="val 21198745"/>
                  <a:gd name="adj2" fmla="val 12463720"/>
                  <a:gd name="adj3" fmla="val 7270"/>
                </a:avLst>
              </a:prstGeom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Block Arc 7">
                <a:extLst>
                  <a:ext uri="{FF2B5EF4-FFF2-40B4-BE49-F238E27FC236}">
                    <a16:creationId xmlns:a16="http://schemas.microsoft.com/office/drawing/2014/main" id="{4691728B-B108-4446-ABEA-30AD80AFA6E8}"/>
                  </a:ext>
                </a:extLst>
              </p:cNvPr>
              <p:cNvSpPr/>
              <p:nvPr/>
            </p:nvSpPr>
            <p:spPr>
              <a:xfrm>
                <a:off x="4420205" y="2119457"/>
                <a:ext cx="3680969" cy="3680969"/>
              </a:xfrm>
              <a:prstGeom prst="blockArc">
                <a:avLst>
                  <a:gd name="adj1" fmla="val 1944613"/>
                  <a:gd name="adj2" fmla="val 15059720"/>
                  <a:gd name="adj3" fmla="val 8946"/>
                </a:avLst>
              </a:prstGeom>
              <a:solidFill>
                <a:schemeClr val="accent2"/>
              </a:solidFill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9" name="Block Arc 8">
                <a:extLst>
                  <a:ext uri="{FF2B5EF4-FFF2-40B4-BE49-F238E27FC236}">
                    <a16:creationId xmlns:a16="http://schemas.microsoft.com/office/drawing/2014/main" id="{FE46E34A-FF98-40F5-B381-B74684822C11}"/>
                  </a:ext>
                </a:extLst>
              </p:cNvPr>
              <p:cNvSpPr/>
              <p:nvPr/>
            </p:nvSpPr>
            <p:spPr>
              <a:xfrm>
                <a:off x="4856928" y="2556180"/>
                <a:ext cx="2807522" cy="2807522"/>
              </a:xfrm>
              <a:prstGeom prst="blockArc">
                <a:avLst>
                  <a:gd name="adj1" fmla="val 4753816"/>
                  <a:gd name="adj2" fmla="val 14215412"/>
                  <a:gd name="adj3" fmla="val 11065"/>
                </a:avLst>
              </a:prstGeom>
              <a:solidFill>
                <a:schemeClr val="accent3"/>
              </a:solidFill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Block Arc 9">
                <a:extLst>
                  <a:ext uri="{FF2B5EF4-FFF2-40B4-BE49-F238E27FC236}">
                    <a16:creationId xmlns:a16="http://schemas.microsoft.com/office/drawing/2014/main" id="{3DDB9987-F25E-4AA5-80F4-777E4C9D86F1}"/>
                  </a:ext>
                </a:extLst>
              </p:cNvPr>
              <p:cNvSpPr/>
              <p:nvPr/>
            </p:nvSpPr>
            <p:spPr>
              <a:xfrm>
                <a:off x="5276028" y="2975280"/>
                <a:ext cx="1969322" cy="1969322"/>
              </a:xfrm>
              <a:prstGeom prst="blockArc">
                <a:avLst>
                  <a:gd name="adj1" fmla="val 3423824"/>
                  <a:gd name="adj2" fmla="val 283136"/>
                  <a:gd name="adj3" fmla="val 13657"/>
                </a:avLst>
              </a:prstGeom>
              <a:solidFill>
                <a:schemeClr val="accent4"/>
              </a:solidFill>
              <a:ln>
                <a:noFill/>
              </a:ln>
              <a:sp3d extrusionH="952500" prstMaterial="metal">
                <a:contourClr>
                  <a:schemeClr val="tx1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4C244A52-7DA4-4C1A-8131-CF3039DB5ED5}"/>
                </a:ext>
              </a:extLst>
            </p:cNvPr>
            <p:cNvGrpSpPr/>
            <p:nvPr/>
          </p:nvGrpSpPr>
          <p:grpSpPr>
            <a:xfrm>
              <a:off x="3558634" y="3988330"/>
              <a:ext cx="924338" cy="579955"/>
              <a:chOff x="3558634" y="3988330"/>
              <a:chExt cx="924338" cy="579955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B8063E0B-7645-4075-9211-00332E8536F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4568285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FBD418B3-61AF-4255-B018-83602405D4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3846" y="3988330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08FB26B-7FF7-434F-B1BB-98A8B8BFAE44}"/>
                </a:ext>
              </a:extLst>
            </p:cNvPr>
            <p:cNvGrpSpPr/>
            <p:nvPr/>
          </p:nvGrpSpPr>
          <p:grpSpPr>
            <a:xfrm>
              <a:off x="3558634" y="2365513"/>
              <a:ext cx="924338" cy="579955"/>
              <a:chOff x="3558634" y="2365513"/>
              <a:chExt cx="924338" cy="579955"/>
            </a:xfrm>
          </p:grpSpPr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9E54A586-D556-4769-96DD-3EAA552B5D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2371267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D58C1F8D-7F62-4C09-BE7B-4DC7F4D776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73846" y="2365513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BB89B0D-D2C3-4573-89BC-2D0D8712F11B}"/>
                </a:ext>
              </a:extLst>
            </p:cNvPr>
            <p:cNvGrpSpPr/>
            <p:nvPr/>
          </p:nvGrpSpPr>
          <p:grpSpPr>
            <a:xfrm flipH="1">
              <a:off x="7702361" y="3987469"/>
              <a:ext cx="924338" cy="579955"/>
              <a:chOff x="3558634" y="3988330"/>
              <a:chExt cx="924338" cy="579955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B3D1FA71-EAA4-43B2-A03D-96CB99D3DC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4568285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C9C0AC69-6F8B-459D-AE3B-E4888B3F8F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873846" y="3988330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5EFD891-85CD-4A7C-A226-96672036A941}"/>
                </a:ext>
              </a:extLst>
            </p:cNvPr>
            <p:cNvGrpSpPr/>
            <p:nvPr/>
          </p:nvGrpSpPr>
          <p:grpSpPr>
            <a:xfrm flipH="1">
              <a:off x="7702361" y="2364652"/>
              <a:ext cx="924338" cy="579955"/>
              <a:chOff x="3558634" y="2365513"/>
              <a:chExt cx="924338" cy="579955"/>
            </a:xfrm>
          </p:grpSpPr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029AD1C0-4F89-438F-8510-2EEB48A4B0B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58634" y="2371267"/>
                <a:ext cx="315212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850BDCBE-B7B6-4F97-99B0-C776F853F6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873846" y="2365513"/>
                <a:ext cx="609126" cy="57995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dash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0EC1F51-7A76-41F3-B949-66A803EFD5F7}"/>
                </a:ext>
              </a:extLst>
            </p:cNvPr>
            <p:cNvGrpSpPr/>
            <p:nvPr/>
          </p:nvGrpSpPr>
          <p:grpSpPr>
            <a:xfrm>
              <a:off x="888080" y="1719829"/>
              <a:ext cx="2355342" cy="1302873"/>
              <a:chOff x="1211741" y="2335612"/>
              <a:chExt cx="2355342" cy="1302873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EB66FE15-FB11-4A78-9313-2DD56ADBF904}"/>
                  </a:ext>
                </a:extLst>
              </p:cNvPr>
              <p:cNvSpPr txBox="1"/>
              <p:nvPr/>
            </p:nvSpPr>
            <p:spPr>
              <a:xfrm>
                <a:off x="1211741" y="2970930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BA6E8091-DDFC-463A-95C6-806B20D75152}"/>
                  </a:ext>
                </a:extLst>
              </p:cNvPr>
              <p:cNvSpPr/>
              <p:nvPr/>
            </p:nvSpPr>
            <p:spPr>
              <a:xfrm>
                <a:off x="1211741" y="2335612"/>
                <a:ext cx="2254915" cy="52546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8ABEF97C-6F09-4D08-B549-3723D2D609D3}"/>
                  </a:ext>
                </a:extLst>
              </p:cNvPr>
              <p:cNvSpPr txBox="1"/>
              <p:nvPr/>
            </p:nvSpPr>
            <p:spPr>
              <a:xfrm>
                <a:off x="1352935" y="2395855"/>
                <a:ext cx="197252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September 2021</a:t>
                </a:r>
              </a:p>
            </p:txBody>
          </p:sp>
          <p:grpSp>
            <p:nvGrpSpPr>
              <p:cNvPr id="60" name="Graphic 183">
                <a:extLst>
                  <a:ext uri="{FF2B5EF4-FFF2-40B4-BE49-F238E27FC236}">
                    <a16:creationId xmlns:a16="http://schemas.microsoft.com/office/drawing/2014/main" id="{A2D9E764-E5FE-4BD2-B2BB-789B7659C5EE}"/>
                  </a:ext>
                </a:extLst>
              </p:cNvPr>
              <p:cNvGrpSpPr/>
              <p:nvPr/>
            </p:nvGrpSpPr>
            <p:grpSpPr>
              <a:xfrm>
                <a:off x="1434871" y="2462168"/>
                <a:ext cx="241504" cy="272357"/>
                <a:chOff x="-671885" y="3150564"/>
                <a:chExt cx="241504" cy="272357"/>
              </a:xfrm>
              <a:solidFill>
                <a:schemeClr val="bg1"/>
              </a:solidFill>
            </p:grpSpPr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921FFF02-DBB9-4A3B-916E-308D209A7514}"/>
                    </a:ext>
                  </a:extLst>
                </p:cNvPr>
                <p:cNvSpPr/>
                <p:nvPr/>
              </p:nvSpPr>
              <p:spPr>
                <a:xfrm>
                  <a:off x="-671885" y="3369727"/>
                  <a:ext cx="47875" cy="52663"/>
                </a:xfrm>
                <a:custGeom>
                  <a:avLst/>
                  <a:gdLst>
                    <a:gd name="connsiteX0" fmla="*/ 39896 w 47875"/>
                    <a:gd name="connsiteY0" fmla="*/ 0 h 52662"/>
                    <a:gd name="connsiteX1" fmla="*/ 7979 w 47875"/>
                    <a:gd name="connsiteY1" fmla="*/ 0 h 52662"/>
                    <a:gd name="connsiteX2" fmla="*/ 0 w 47875"/>
                    <a:gd name="connsiteY2" fmla="*/ 7979 h 52662"/>
                    <a:gd name="connsiteX3" fmla="*/ 0 w 47875"/>
                    <a:gd name="connsiteY3" fmla="*/ 45216 h 52662"/>
                    <a:gd name="connsiteX4" fmla="*/ 7979 w 47875"/>
                    <a:gd name="connsiteY4" fmla="*/ 53195 h 52662"/>
                    <a:gd name="connsiteX5" fmla="*/ 39896 w 47875"/>
                    <a:gd name="connsiteY5" fmla="*/ 53195 h 52662"/>
                    <a:gd name="connsiteX6" fmla="*/ 47875 w 47875"/>
                    <a:gd name="connsiteY6" fmla="*/ 45216 h 52662"/>
                    <a:gd name="connsiteX7" fmla="*/ 47875 w 47875"/>
                    <a:gd name="connsiteY7" fmla="*/ 7979 h 52662"/>
                    <a:gd name="connsiteX8" fmla="*/ 39896 w 47875"/>
                    <a:gd name="connsiteY8" fmla="*/ 0 h 52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52662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45216"/>
                      </a:lnTo>
                      <a:cubicBezTo>
                        <a:pt x="0" y="49625"/>
                        <a:pt x="3575" y="53195"/>
                        <a:pt x="7979" y="53195"/>
                      </a:cubicBezTo>
                      <a:lnTo>
                        <a:pt x="39896" y="53195"/>
                      </a:lnTo>
                      <a:cubicBezTo>
                        <a:pt x="44306" y="53195"/>
                        <a:pt x="47875" y="49625"/>
                        <a:pt x="47875" y="45216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A4C244F1-1721-43A9-8B96-9E3C52D7AE60}"/>
                    </a:ext>
                  </a:extLst>
                </p:cNvPr>
                <p:cNvSpPr/>
                <p:nvPr/>
              </p:nvSpPr>
              <p:spPr>
                <a:xfrm>
                  <a:off x="-608051" y="3330278"/>
                  <a:ext cx="47875" cy="92559"/>
                </a:xfrm>
                <a:custGeom>
                  <a:avLst/>
                  <a:gdLst>
                    <a:gd name="connsiteX0" fmla="*/ 39896 w 47875"/>
                    <a:gd name="connsiteY0" fmla="*/ 0 h 92558"/>
                    <a:gd name="connsiteX1" fmla="*/ 7979 w 47875"/>
                    <a:gd name="connsiteY1" fmla="*/ 0 h 92558"/>
                    <a:gd name="connsiteX2" fmla="*/ 0 w 47875"/>
                    <a:gd name="connsiteY2" fmla="*/ 7979 h 92558"/>
                    <a:gd name="connsiteX3" fmla="*/ 0 w 47875"/>
                    <a:gd name="connsiteY3" fmla="*/ 84665 h 92558"/>
                    <a:gd name="connsiteX4" fmla="*/ 7979 w 47875"/>
                    <a:gd name="connsiteY4" fmla="*/ 92644 h 92558"/>
                    <a:gd name="connsiteX5" fmla="*/ 39896 w 47875"/>
                    <a:gd name="connsiteY5" fmla="*/ 92644 h 92558"/>
                    <a:gd name="connsiteX6" fmla="*/ 47875 w 47875"/>
                    <a:gd name="connsiteY6" fmla="*/ 84665 h 92558"/>
                    <a:gd name="connsiteX7" fmla="*/ 47875 w 47875"/>
                    <a:gd name="connsiteY7" fmla="*/ 7979 h 92558"/>
                    <a:gd name="connsiteX8" fmla="*/ 39896 w 47875"/>
                    <a:gd name="connsiteY8" fmla="*/ 0 h 92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92558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84665"/>
                      </a:lnTo>
                      <a:cubicBezTo>
                        <a:pt x="0" y="89075"/>
                        <a:pt x="3575" y="92644"/>
                        <a:pt x="7979" y="92644"/>
                      </a:cubicBezTo>
                      <a:lnTo>
                        <a:pt x="39896" y="92644"/>
                      </a:lnTo>
                      <a:cubicBezTo>
                        <a:pt x="44306" y="92644"/>
                        <a:pt x="47875" y="89075"/>
                        <a:pt x="47875" y="84665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30330D6F-82BB-448F-AAE9-5FBC4F2AA43E}"/>
                    </a:ext>
                  </a:extLst>
                </p:cNvPr>
                <p:cNvSpPr/>
                <p:nvPr/>
              </p:nvSpPr>
              <p:spPr>
                <a:xfrm>
                  <a:off x="-544217" y="3271130"/>
                  <a:ext cx="47875" cy="151605"/>
                </a:xfrm>
                <a:custGeom>
                  <a:avLst/>
                  <a:gdLst>
                    <a:gd name="connsiteX0" fmla="*/ 39896 w 47875"/>
                    <a:gd name="connsiteY0" fmla="*/ 0 h 151604"/>
                    <a:gd name="connsiteX1" fmla="*/ 7979 w 47875"/>
                    <a:gd name="connsiteY1" fmla="*/ 0 h 151604"/>
                    <a:gd name="connsiteX2" fmla="*/ 0 w 47875"/>
                    <a:gd name="connsiteY2" fmla="*/ 7979 h 151604"/>
                    <a:gd name="connsiteX3" fmla="*/ 0 w 47875"/>
                    <a:gd name="connsiteY3" fmla="*/ 143812 h 151604"/>
                    <a:gd name="connsiteX4" fmla="*/ 7979 w 47875"/>
                    <a:gd name="connsiteY4" fmla="*/ 151791 h 151604"/>
                    <a:gd name="connsiteX5" fmla="*/ 39896 w 47875"/>
                    <a:gd name="connsiteY5" fmla="*/ 151791 h 151604"/>
                    <a:gd name="connsiteX6" fmla="*/ 47875 w 47875"/>
                    <a:gd name="connsiteY6" fmla="*/ 143812 h 151604"/>
                    <a:gd name="connsiteX7" fmla="*/ 47875 w 47875"/>
                    <a:gd name="connsiteY7" fmla="*/ 7979 h 151604"/>
                    <a:gd name="connsiteX8" fmla="*/ 39896 w 47875"/>
                    <a:gd name="connsiteY8" fmla="*/ 0 h 15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151604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143812"/>
                      </a:lnTo>
                      <a:cubicBezTo>
                        <a:pt x="0" y="148222"/>
                        <a:pt x="3575" y="151791"/>
                        <a:pt x="7979" y="151791"/>
                      </a:cubicBezTo>
                      <a:lnTo>
                        <a:pt x="39896" y="151791"/>
                      </a:lnTo>
                      <a:cubicBezTo>
                        <a:pt x="44306" y="151791"/>
                        <a:pt x="47875" y="148222"/>
                        <a:pt x="47875" y="143812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BFA9CBB0-262B-4811-A970-CDF55C8F72B3}"/>
                    </a:ext>
                  </a:extLst>
                </p:cNvPr>
                <p:cNvSpPr/>
                <p:nvPr/>
              </p:nvSpPr>
              <p:spPr>
                <a:xfrm>
                  <a:off x="-480384" y="3212292"/>
                  <a:ext cx="47875" cy="210119"/>
                </a:xfrm>
                <a:custGeom>
                  <a:avLst/>
                  <a:gdLst>
                    <a:gd name="connsiteX0" fmla="*/ 39896 w 47875"/>
                    <a:gd name="connsiteY0" fmla="*/ 0 h 210119"/>
                    <a:gd name="connsiteX1" fmla="*/ 7979 w 47875"/>
                    <a:gd name="connsiteY1" fmla="*/ 0 h 210119"/>
                    <a:gd name="connsiteX2" fmla="*/ 0 w 47875"/>
                    <a:gd name="connsiteY2" fmla="*/ 7979 h 210119"/>
                    <a:gd name="connsiteX3" fmla="*/ 0 w 47875"/>
                    <a:gd name="connsiteY3" fmla="*/ 202651 h 210119"/>
                    <a:gd name="connsiteX4" fmla="*/ 7979 w 47875"/>
                    <a:gd name="connsiteY4" fmla="*/ 210630 h 210119"/>
                    <a:gd name="connsiteX5" fmla="*/ 39896 w 47875"/>
                    <a:gd name="connsiteY5" fmla="*/ 210630 h 210119"/>
                    <a:gd name="connsiteX6" fmla="*/ 47875 w 47875"/>
                    <a:gd name="connsiteY6" fmla="*/ 202651 h 210119"/>
                    <a:gd name="connsiteX7" fmla="*/ 47875 w 47875"/>
                    <a:gd name="connsiteY7" fmla="*/ 7979 h 210119"/>
                    <a:gd name="connsiteX8" fmla="*/ 39896 w 47875"/>
                    <a:gd name="connsiteY8" fmla="*/ 0 h 210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210119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202651"/>
                      </a:lnTo>
                      <a:cubicBezTo>
                        <a:pt x="0" y="207060"/>
                        <a:pt x="3575" y="210630"/>
                        <a:pt x="7979" y="210630"/>
                      </a:cubicBezTo>
                      <a:lnTo>
                        <a:pt x="39896" y="210630"/>
                      </a:lnTo>
                      <a:cubicBezTo>
                        <a:pt x="44306" y="210630"/>
                        <a:pt x="47875" y="207060"/>
                        <a:pt x="47875" y="202651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C125B8E2-CA67-4AEE-8FCA-DDFBC78D3FB7}"/>
                    </a:ext>
                  </a:extLst>
                </p:cNvPr>
                <p:cNvSpPr/>
                <p:nvPr/>
              </p:nvSpPr>
              <p:spPr>
                <a:xfrm>
                  <a:off x="-671883" y="3150564"/>
                  <a:ext cx="241504" cy="203204"/>
                </a:xfrm>
                <a:custGeom>
                  <a:avLst/>
                  <a:gdLst>
                    <a:gd name="connsiteX0" fmla="*/ 238100 w 241504"/>
                    <a:gd name="connsiteY0" fmla="*/ 1380 h 203203"/>
                    <a:gd name="connsiteX1" fmla="*/ 227015 w 241504"/>
                    <a:gd name="connsiteY1" fmla="*/ 3496 h 203203"/>
                    <a:gd name="connsiteX2" fmla="*/ 209136 w 241504"/>
                    <a:gd name="connsiteY2" fmla="*/ 29810 h 203203"/>
                    <a:gd name="connsiteX3" fmla="*/ 181875 w 241504"/>
                    <a:gd name="connsiteY3" fmla="*/ 29810 h 203203"/>
                    <a:gd name="connsiteX4" fmla="*/ 174806 w 241504"/>
                    <a:gd name="connsiteY4" fmla="*/ 34088 h 203203"/>
                    <a:gd name="connsiteX5" fmla="*/ 146243 w 241504"/>
                    <a:gd name="connsiteY5" fmla="*/ 88648 h 203203"/>
                    <a:gd name="connsiteX6" fmla="*/ 119688 w 241504"/>
                    <a:gd name="connsiteY6" fmla="*/ 88648 h 203203"/>
                    <a:gd name="connsiteX7" fmla="*/ 112693 w 241504"/>
                    <a:gd name="connsiteY7" fmla="*/ 92789 h 203203"/>
                    <a:gd name="connsiteX8" fmla="*/ 82516 w 241504"/>
                    <a:gd name="connsiteY8" fmla="*/ 147797 h 203203"/>
                    <a:gd name="connsiteX9" fmla="*/ 55854 w 241504"/>
                    <a:gd name="connsiteY9" fmla="*/ 147797 h 203203"/>
                    <a:gd name="connsiteX10" fmla="*/ 49280 w 241504"/>
                    <a:gd name="connsiteY10" fmla="*/ 151255 h 203203"/>
                    <a:gd name="connsiteX11" fmla="*/ 24529 w 241504"/>
                    <a:gd name="connsiteY11" fmla="*/ 187246 h 203203"/>
                    <a:gd name="connsiteX12" fmla="*/ 7979 w 241504"/>
                    <a:gd name="connsiteY12" fmla="*/ 187246 h 203203"/>
                    <a:gd name="connsiteX13" fmla="*/ 0 w 241504"/>
                    <a:gd name="connsiteY13" fmla="*/ 195225 h 203203"/>
                    <a:gd name="connsiteX14" fmla="*/ 7979 w 241504"/>
                    <a:gd name="connsiteY14" fmla="*/ 203205 h 203203"/>
                    <a:gd name="connsiteX15" fmla="*/ 28725 w 241504"/>
                    <a:gd name="connsiteY15" fmla="*/ 203205 h 203203"/>
                    <a:gd name="connsiteX16" fmla="*/ 35299 w 241504"/>
                    <a:gd name="connsiteY16" fmla="*/ 199747 h 203203"/>
                    <a:gd name="connsiteX17" fmla="*/ 60051 w 241504"/>
                    <a:gd name="connsiteY17" fmla="*/ 163755 h 203203"/>
                    <a:gd name="connsiteX18" fmla="*/ 87239 w 241504"/>
                    <a:gd name="connsiteY18" fmla="*/ 163755 h 203203"/>
                    <a:gd name="connsiteX19" fmla="*/ 94235 w 241504"/>
                    <a:gd name="connsiteY19" fmla="*/ 159614 h 203203"/>
                    <a:gd name="connsiteX20" fmla="*/ 124412 w 241504"/>
                    <a:gd name="connsiteY20" fmla="*/ 104607 h 203203"/>
                    <a:gd name="connsiteX21" fmla="*/ 151073 w 241504"/>
                    <a:gd name="connsiteY21" fmla="*/ 104607 h 203203"/>
                    <a:gd name="connsiteX22" fmla="*/ 158142 w 241504"/>
                    <a:gd name="connsiteY22" fmla="*/ 100328 h 203203"/>
                    <a:gd name="connsiteX23" fmla="*/ 186704 w 241504"/>
                    <a:gd name="connsiteY23" fmla="*/ 45768 h 203203"/>
                    <a:gd name="connsiteX24" fmla="*/ 213361 w 241504"/>
                    <a:gd name="connsiteY24" fmla="*/ 45768 h 203203"/>
                    <a:gd name="connsiteX25" fmla="*/ 219961 w 241504"/>
                    <a:gd name="connsiteY25" fmla="*/ 42273 h 203203"/>
                    <a:gd name="connsiteX26" fmla="*/ 240215 w 241504"/>
                    <a:gd name="connsiteY26" fmla="*/ 12464 h 203203"/>
                    <a:gd name="connsiteX27" fmla="*/ 238100 w 241504"/>
                    <a:gd name="connsiteY27" fmla="*/ 1380 h 203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41504" h="203203">
                      <a:moveTo>
                        <a:pt x="238100" y="1380"/>
                      </a:moveTo>
                      <a:cubicBezTo>
                        <a:pt x="234454" y="-1097"/>
                        <a:pt x="229492" y="-149"/>
                        <a:pt x="227015" y="3496"/>
                      </a:cubicBezTo>
                      <a:lnTo>
                        <a:pt x="209136" y="29810"/>
                      </a:lnTo>
                      <a:lnTo>
                        <a:pt x="181875" y="29810"/>
                      </a:lnTo>
                      <a:cubicBezTo>
                        <a:pt x="178906" y="29810"/>
                        <a:pt x="176183" y="31459"/>
                        <a:pt x="174806" y="34088"/>
                      </a:cubicBezTo>
                      <a:lnTo>
                        <a:pt x="146243" y="88648"/>
                      </a:lnTo>
                      <a:lnTo>
                        <a:pt x="119688" y="88648"/>
                      </a:lnTo>
                      <a:cubicBezTo>
                        <a:pt x="116775" y="88648"/>
                        <a:pt x="114094" y="90236"/>
                        <a:pt x="112693" y="92789"/>
                      </a:cubicBezTo>
                      <a:lnTo>
                        <a:pt x="82516" y="147797"/>
                      </a:lnTo>
                      <a:lnTo>
                        <a:pt x="55854" y="147797"/>
                      </a:lnTo>
                      <a:cubicBezTo>
                        <a:pt x="53227" y="147797"/>
                        <a:pt x="50769" y="149090"/>
                        <a:pt x="49280" y="151255"/>
                      </a:cubicBezTo>
                      <a:lnTo>
                        <a:pt x="24529" y="187246"/>
                      </a:lnTo>
                      <a:lnTo>
                        <a:pt x="7979" y="187246"/>
                      </a:lnTo>
                      <a:cubicBezTo>
                        <a:pt x="3573" y="187246"/>
                        <a:pt x="0" y="190819"/>
                        <a:pt x="0" y="195225"/>
                      </a:cubicBezTo>
                      <a:cubicBezTo>
                        <a:pt x="0" y="199632"/>
                        <a:pt x="3573" y="203205"/>
                        <a:pt x="7979" y="203205"/>
                      </a:cubicBezTo>
                      <a:lnTo>
                        <a:pt x="28725" y="203205"/>
                      </a:lnTo>
                      <a:cubicBezTo>
                        <a:pt x="31352" y="203205"/>
                        <a:pt x="33811" y="201911"/>
                        <a:pt x="35299" y="199747"/>
                      </a:cubicBezTo>
                      <a:lnTo>
                        <a:pt x="60051" y="163755"/>
                      </a:lnTo>
                      <a:lnTo>
                        <a:pt x="87239" y="163755"/>
                      </a:lnTo>
                      <a:cubicBezTo>
                        <a:pt x="90152" y="163755"/>
                        <a:pt x="92834" y="162168"/>
                        <a:pt x="94235" y="159614"/>
                      </a:cubicBezTo>
                      <a:lnTo>
                        <a:pt x="124412" y="104607"/>
                      </a:lnTo>
                      <a:lnTo>
                        <a:pt x="151073" y="104607"/>
                      </a:lnTo>
                      <a:cubicBezTo>
                        <a:pt x="154042" y="104607"/>
                        <a:pt x="156765" y="102958"/>
                        <a:pt x="158142" y="100328"/>
                      </a:cubicBezTo>
                      <a:lnTo>
                        <a:pt x="186704" y="45768"/>
                      </a:lnTo>
                      <a:lnTo>
                        <a:pt x="213361" y="45768"/>
                      </a:lnTo>
                      <a:cubicBezTo>
                        <a:pt x="216005" y="45768"/>
                        <a:pt x="218476" y="44459"/>
                        <a:pt x="219961" y="42273"/>
                      </a:cubicBezTo>
                      <a:lnTo>
                        <a:pt x="240215" y="12464"/>
                      </a:lnTo>
                      <a:cubicBezTo>
                        <a:pt x="242692" y="8819"/>
                        <a:pt x="241745" y="3857"/>
                        <a:pt x="238100" y="1380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8370274D-6633-4B35-964A-B534D8057E3A}"/>
                </a:ext>
              </a:extLst>
            </p:cNvPr>
            <p:cNvGrpSpPr/>
            <p:nvPr/>
          </p:nvGrpSpPr>
          <p:grpSpPr>
            <a:xfrm>
              <a:off x="803605" y="3812269"/>
              <a:ext cx="2418842" cy="1302873"/>
              <a:chOff x="3878092" y="2336462"/>
              <a:chExt cx="2418842" cy="1302873"/>
            </a:xfrm>
          </p:grpSpPr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7C266580-24F2-4D37-B8FE-942B6CD622CA}"/>
                  </a:ext>
                </a:extLst>
              </p:cNvPr>
              <p:cNvSpPr txBox="1"/>
              <p:nvPr/>
            </p:nvSpPr>
            <p:spPr>
              <a:xfrm>
                <a:off x="3878092" y="2971780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FEFADD93-B3B7-4C5C-A7AB-A1D62B91593D}"/>
                  </a:ext>
                </a:extLst>
              </p:cNvPr>
              <p:cNvSpPr/>
              <p:nvPr/>
            </p:nvSpPr>
            <p:spPr>
              <a:xfrm>
                <a:off x="3978519" y="2336462"/>
                <a:ext cx="2254915" cy="52546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2322DCAC-EC12-45E1-BDD1-DEC4E0A43F82}"/>
                  </a:ext>
                </a:extLst>
              </p:cNvPr>
              <p:cNvSpPr txBox="1"/>
              <p:nvPr/>
            </p:nvSpPr>
            <p:spPr>
              <a:xfrm>
                <a:off x="4577077" y="2396705"/>
                <a:ext cx="171985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November 2021</a:t>
                </a:r>
              </a:p>
            </p:txBody>
          </p:sp>
          <p:grpSp>
            <p:nvGrpSpPr>
              <p:cNvPr id="70" name="Graphic 182">
                <a:extLst>
                  <a:ext uri="{FF2B5EF4-FFF2-40B4-BE49-F238E27FC236}">
                    <a16:creationId xmlns:a16="http://schemas.microsoft.com/office/drawing/2014/main" id="{C1A37386-D04C-4931-8552-FEF6F64F977A}"/>
                  </a:ext>
                </a:extLst>
              </p:cNvPr>
              <p:cNvGrpSpPr/>
              <p:nvPr/>
            </p:nvGrpSpPr>
            <p:grpSpPr>
              <a:xfrm>
                <a:off x="4201550" y="2463284"/>
                <a:ext cx="272357" cy="271825"/>
                <a:chOff x="-413837" y="3944669"/>
                <a:chExt cx="272357" cy="271825"/>
              </a:xfrm>
              <a:solidFill>
                <a:schemeClr val="bg1"/>
              </a:solidFill>
            </p:grpSpPr>
            <p:sp>
              <p:nvSpPr>
                <p:cNvPr id="71" name="Freeform: Shape 70">
                  <a:extLst>
                    <a:ext uri="{FF2B5EF4-FFF2-40B4-BE49-F238E27FC236}">
                      <a16:creationId xmlns:a16="http://schemas.microsoft.com/office/drawing/2014/main" id="{89114D71-FC0E-4598-8F28-3D267F85AB91}"/>
                    </a:ext>
                  </a:extLst>
                </p:cNvPr>
                <p:cNvSpPr/>
                <p:nvPr/>
              </p:nvSpPr>
              <p:spPr>
                <a:xfrm>
                  <a:off x="-371752" y="4043596"/>
                  <a:ext cx="130859" cy="130859"/>
                </a:xfrm>
                <a:custGeom>
                  <a:avLst/>
                  <a:gdLst>
                    <a:gd name="connsiteX0" fmla="*/ 41931 w 130859"/>
                    <a:gd name="connsiteY0" fmla="*/ 125705 h 130859"/>
                    <a:gd name="connsiteX1" fmla="*/ 8389 w 130859"/>
                    <a:gd name="connsiteY1" fmla="*/ 131245 h 130859"/>
                    <a:gd name="connsiteX2" fmla="*/ 99 w 130859"/>
                    <a:gd name="connsiteY2" fmla="*/ 122955 h 130859"/>
                    <a:gd name="connsiteX3" fmla="*/ 5639 w 130859"/>
                    <a:gd name="connsiteY3" fmla="*/ 89413 h 130859"/>
                    <a:gd name="connsiteX4" fmla="*/ 11536 w 130859"/>
                    <a:gd name="connsiteY4" fmla="*/ 86524 h 130859"/>
                    <a:gd name="connsiteX5" fmla="*/ 18565 w 130859"/>
                    <a:gd name="connsiteY5" fmla="*/ 86782 h 130859"/>
                    <a:gd name="connsiteX6" fmla="*/ 18610 w 130859"/>
                    <a:gd name="connsiteY6" fmla="*/ 86760 h 130859"/>
                    <a:gd name="connsiteX7" fmla="*/ 128110 w 130859"/>
                    <a:gd name="connsiteY7" fmla="*/ 427 h 130859"/>
                    <a:gd name="connsiteX8" fmla="*/ 130917 w 130859"/>
                    <a:gd name="connsiteY8" fmla="*/ 3233 h 130859"/>
                    <a:gd name="connsiteX9" fmla="*/ 44300 w 130859"/>
                    <a:gd name="connsiteY9" fmla="*/ 113520 h 130859"/>
                    <a:gd name="connsiteX10" fmla="*/ 44821 w 130859"/>
                    <a:gd name="connsiteY10" fmla="*/ 119811 h 130859"/>
                    <a:gd name="connsiteX11" fmla="*/ 41931 w 130859"/>
                    <a:gd name="connsiteY11" fmla="*/ 125705 h 1308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0859" h="130859">
                      <a:moveTo>
                        <a:pt x="41931" y="125705"/>
                      </a:moveTo>
                      <a:lnTo>
                        <a:pt x="8389" y="131245"/>
                      </a:lnTo>
                      <a:cubicBezTo>
                        <a:pt x="3516" y="132050"/>
                        <a:pt x="-706" y="127828"/>
                        <a:pt x="99" y="122955"/>
                      </a:cubicBezTo>
                      <a:lnTo>
                        <a:pt x="5639" y="89413"/>
                      </a:lnTo>
                      <a:cubicBezTo>
                        <a:pt x="6091" y="86680"/>
                        <a:pt x="9130" y="85150"/>
                        <a:pt x="11536" y="86524"/>
                      </a:cubicBezTo>
                      <a:cubicBezTo>
                        <a:pt x="13428" y="87603"/>
                        <a:pt x="15706" y="88040"/>
                        <a:pt x="18565" y="86782"/>
                      </a:cubicBezTo>
                      <a:cubicBezTo>
                        <a:pt x="18582" y="86777"/>
                        <a:pt x="18599" y="86771"/>
                        <a:pt x="18610" y="86760"/>
                      </a:cubicBezTo>
                      <a:cubicBezTo>
                        <a:pt x="19902" y="86224"/>
                        <a:pt x="29319" y="75219"/>
                        <a:pt x="128110" y="427"/>
                      </a:cubicBezTo>
                      <a:cubicBezTo>
                        <a:pt x="129965" y="-978"/>
                        <a:pt x="132321" y="1378"/>
                        <a:pt x="130917" y="3233"/>
                      </a:cubicBezTo>
                      <a:cubicBezTo>
                        <a:pt x="55616" y="102675"/>
                        <a:pt x="44895" y="111552"/>
                        <a:pt x="44300" y="113520"/>
                      </a:cubicBezTo>
                      <a:cubicBezTo>
                        <a:pt x="43488" y="116156"/>
                        <a:pt x="43861" y="118121"/>
                        <a:pt x="44821" y="119811"/>
                      </a:cubicBezTo>
                      <a:cubicBezTo>
                        <a:pt x="46190" y="122218"/>
                        <a:pt x="44663" y="125254"/>
                        <a:pt x="41931" y="125705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41E4734C-6B95-43FD-824B-4751940D1C11}"/>
                    </a:ext>
                  </a:extLst>
                </p:cNvPr>
                <p:cNvSpPr/>
                <p:nvPr/>
              </p:nvSpPr>
              <p:spPr>
                <a:xfrm>
                  <a:off x="-413837" y="3944669"/>
                  <a:ext cx="272357" cy="271825"/>
                </a:xfrm>
                <a:custGeom>
                  <a:avLst/>
                  <a:gdLst>
                    <a:gd name="connsiteX0" fmla="*/ 272013 w 272357"/>
                    <a:gd name="connsiteY0" fmla="*/ 7281 h 271825"/>
                    <a:gd name="connsiteX1" fmla="*/ 176695 w 272357"/>
                    <a:gd name="connsiteY1" fmla="*/ 266006 h 271825"/>
                    <a:gd name="connsiteX2" fmla="*/ 160731 w 272357"/>
                    <a:gd name="connsiteY2" fmla="*/ 269512 h 271825"/>
                    <a:gd name="connsiteX3" fmla="*/ 111477 w 272357"/>
                    <a:gd name="connsiteY3" fmla="*/ 220257 h 271825"/>
                    <a:gd name="connsiteX4" fmla="*/ 110589 w 272357"/>
                    <a:gd name="connsiteY4" fmla="*/ 207353 h 271825"/>
                    <a:gd name="connsiteX5" fmla="*/ 216125 w 272357"/>
                    <a:gd name="connsiteY5" fmla="*/ 67947 h 271825"/>
                    <a:gd name="connsiteX6" fmla="*/ 204411 w 272357"/>
                    <a:gd name="connsiteY6" fmla="*/ 56233 h 271825"/>
                    <a:gd name="connsiteX7" fmla="*/ 65005 w 272357"/>
                    <a:gd name="connsiteY7" fmla="*/ 161769 h 271825"/>
                    <a:gd name="connsiteX8" fmla="*/ 52100 w 272357"/>
                    <a:gd name="connsiteY8" fmla="*/ 160881 h 271825"/>
                    <a:gd name="connsiteX9" fmla="*/ 2845 w 272357"/>
                    <a:gd name="connsiteY9" fmla="*/ 111626 h 271825"/>
                    <a:gd name="connsiteX10" fmla="*/ 6351 w 272357"/>
                    <a:gd name="connsiteY10" fmla="*/ 95662 h 271825"/>
                    <a:gd name="connsiteX11" fmla="*/ 265077 w 272357"/>
                    <a:gd name="connsiteY11" fmla="*/ 345 h 271825"/>
                    <a:gd name="connsiteX12" fmla="*/ 272013 w 272357"/>
                    <a:gd name="connsiteY12" fmla="*/ 7281 h 271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72357" h="271825">
                      <a:moveTo>
                        <a:pt x="272013" y="7281"/>
                      </a:moveTo>
                      <a:lnTo>
                        <a:pt x="176695" y="266006"/>
                      </a:lnTo>
                      <a:cubicBezTo>
                        <a:pt x="174248" y="272649"/>
                        <a:pt x="165738" y="274518"/>
                        <a:pt x="160731" y="269512"/>
                      </a:cubicBezTo>
                      <a:lnTo>
                        <a:pt x="111477" y="220257"/>
                      </a:lnTo>
                      <a:cubicBezTo>
                        <a:pt x="108001" y="216781"/>
                        <a:pt x="107621" y="211273"/>
                        <a:pt x="110589" y="207353"/>
                      </a:cubicBezTo>
                      <a:lnTo>
                        <a:pt x="216125" y="67947"/>
                      </a:lnTo>
                      <a:cubicBezTo>
                        <a:pt x="222103" y="59944"/>
                        <a:pt x="211892" y="50605"/>
                        <a:pt x="204411" y="56233"/>
                      </a:cubicBezTo>
                      <a:lnTo>
                        <a:pt x="65005" y="161769"/>
                      </a:lnTo>
                      <a:cubicBezTo>
                        <a:pt x="61085" y="164737"/>
                        <a:pt x="55577" y="164357"/>
                        <a:pt x="52100" y="160881"/>
                      </a:cubicBezTo>
                      <a:lnTo>
                        <a:pt x="2845" y="111626"/>
                      </a:lnTo>
                      <a:cubicBezTo>
                        <a:pt x="-2162" y="106619"/>
                        <a:pt x="-292" y="98110"/>
                        <a:pt x="6351" y="95662"/>
                      </a:cubicBezTo>
                      <a:lnTo>
                        <a:pt x="265077" y="345"/>
                      </a:lnTo>
                      <a:cubicBezTo>
                        <a:pt x="269401" y="-1248"/>
                        <a:pt x="273606" y="2957"/>
                        <a:pt x="272013" y="7281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BB71041B-6944-4C10-9DC4-A6E3A3E3831D}"/>
                </a:ext>
              </a:extLst>
            </p:cNvPr>
            <p:cNvGrpSpPr/>
            <p:nvPr/>
          </p:nvGrpSpPr>
          <p:grpSpPr>
            <a:xfrm>
              <a:off x="8948578" y="1717137"/>
              <a:ext cx="2355342" cy="1302873"/>
              <a:chOff x="1211741" y="4365626"/>
              <a:chExt cx="2355342" cy="1302873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14A0A0A5-B78B-42A1-A4F2-59D4CF02DDCD}"/>
                  </a:ext>
                </a:extLst>
              </p:cNvPr>
              <p:cNvSpPr txBox="1"/>
              <p:nvPr/>
            </p:nvSpPr>
            <p:spPr>
              <a:xfrm>
                <a:off x="1211741" y="5000944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577E6F6F-9538-45F4-9E97-0C9928F62DFA}"/>
                  </a:ext>
                </a:extLst>
              </p:cNvPr>
              <p:cNvSpPr/>
              <p:nvPr/>
            </p:nvSpPr>
            <p:spPr>
              <a:xfrm>
                <a:off x="1211741" y="4365626"/>
                <a:ext cx="2254915" cy="525468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51410DE8-8DE6-4154-9DA0-DE563342B2CA}"/>
                  </a:ext>
                </a:extLst>
              </p:cNvPr>
              <p:cNvSpPr txBox="1"/>
              <p:nvPr/>
            </p:nvSpPr>
            <p:spPr>
              <a:xfrm>
                <a:off x="1773454" y="4425869"/>
                <a:ext cx="140662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40000"/>
                  </a:lnSpc>
                </a:pPr>
                <a:r>
                  <a:rPr lang="en-US" sz="1600" b="1" dirty="0" err="1">
                    <a:solidFill>
                      <a:schemeClr val="bg1"/>
                    </a:solidFill>
                  </a:rPr>
                  <a:t>Oktober</a:t>
                </a:r>
                <a:r>
                  <a:rPr lang="en-US" sz="1600" b="1" dirty="0">
                    <a:solidFill>
                      <a:schemeClr val="bg1"/>
                    </a:solidFill>
                  </a:rPr>
                  <a:t> 2021</a:t>
                </a:r>
              </a:p>
            </p:txBody>
          </p:sp>
          <p:grpSp>
            <p:nvGrpSpPr>
              <p:cNvPr id="77" name="Graphic 173">
                <a:extLst>
                  <a:ext uri="{FF2B5EF4-FFF2-40B4-BE49-F238E27FC236}">
                    <a16:creationId xmlns:a16="http://schemas.microsoft.com/office/drawing/2014/main" id="{EED78FAA-3774-4549-AF97-1523C22053A9}"/>
                  </a:ext>
                </a:extLst>
              </p:cNvPr>
              <p:cNvGrpSpPr/>
              <p:nvPr/>
            </p:nvGrpSpPr>
            <p:grpSpPr>
              <a:xfrm>
                <a:off x="1486879" y="4492448"/>
                <a:ext cx="271825" cy="271825"/>
                <a:chOff x="-401846" y="2953289"/>
                <a:chExt cx="271825" cy="271825"/>
              </a:xfrm>
              <a:solidFill>
                <a:schemeClr val="bg1"/>
              </a:solidFill>
            </p:grpSpPr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C6A9938B-CF53-4862-A1D6-179A4C48A9A3}"/>
                    </a:ext>
                  </a:extLst>
                </p:cNvPr>
                <p:cNvSpPr/>
                <p:nvPr/>
              </p:nvSpPr>
              <p:spPr>
                <a:xfrm>
                  <a:off x="-291234" y="2953289"/>
                  <a:ext cx="161712" cy="161712"/>
                </a:xfrm>
                <a:custGeom>
                  <a:avLst/>
                  <a:gdLst>
                    <a:gd name="connsiteX0" fmla="*/ 159403 w 161711"/>
                    <a:gd name="connsiteY0" fmla="*/ 114699 h 161711"/>
                    <a:gd name="connsiteX1" fmla="*/ 144993 w 161711"/>
                    <a:gd name="connsiteY1" fmla="*/ 129120 h 161711"/>
                    <a:gd name="connsiteX2" fmla="*/ 86808 w 161711"/>
                    <a:gd name="connsiteY2" fmla="*/ 137381 h 161711"/>
                    <a:gd name="connsiteX3" fmla="*/ 62456 w 161711"/>
                    <a:gd name="connsiteY3" fmla="*/ 161734 h 161711"/>
                    <a:gd name="connsiteX4" fmla="*/ 62270 w 161711"/>
                    <a:gd name="connsiteY4" fmla="*/ 161362 h 161711"/>
                    <a:gd name="connsiteX5" fmla="*/ 27486 w 161711"/>
                    <a:gd name="connsiteY5" fmla="*/ 119019 h 161711"/>
                    <a:gd name="connsiteX6" fmla="*/ 0 w 161711"/>
                    <a:gd name="connsiteY6" fmla="*/ 99294 h 161711"/>
                    <a:gd name="connsiteX7" fmla="*/ 24363 w 161711"/>
                    <a:gd name="connsiteY7" fmla="*/ 74931 h 161711"/>
                    <a:gd name="connsiteX8" fmla="*/ 32619 w 161711"/>
                    <a:gd name="connsiteY8" fmla="*/ 16752 h 161711"/>
                    <a:gd name="connsiteX9" fmla="*/ 47040 w 161711"/>
                    <a:gd name="connsiteY9" fmla="*/ 2336 h 161711"/>
                    <a:gd name="connsiteX10" fmla="*/ 58323 w 161711"/>
                    <a:gd name="connsiteY10" fmla="*/ 2336 h 161711"/>
                    <a:gd name="connsiteX11" fmla="*/ 159403 w 161711"/>
                    <a:gd name="connsiteY11" fmla="*/ 103417 h 161711"/>
                    <a:gd name="connsiteX12" fmla="*/ 159403 w 161711"/>
                    <a:gd name="connsiteY12" fmla="*/ 114699 h 1617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1711" h="161711">
                      <a:moveTo>
                        <a:pt x="159403" y="114699"/>
                      </a:moveTo>
                      <a:lnTo>
                        <a:pt x="144993" y="129120"/>
                      </a:lnTo>
                      <a:cubicBezTo>
                        <a:pt x="129636" y="144467"/>
                        <a:pt x="105767" y="147839"/>
                        <a:pt x="86808" y="137381"/>
                      </a:cubicBezTo>
                      <a:lnTo>
                        <a:pt x="62456" y="161734"/>
                      </a:lnTo>
                      <a:cubicBezTo>
                        <a:pt x="62392" y="161612"/>
                        <a:pt x="62334" y="161484"/>
                        <a:pt x="62270" y="161362"/>
                      </a:cubicBezTo>
                      <a:cubicBezTo>
                        <a:pt x="53257" y="143316"/>
                        <a:pt x="43378" y="134911"/>
                        <a:pt x="27486" y="119019"/>
                      </a:cubicBezTo>
                      <a:cubicBezTo>
                        <a:pt x="17460" y="108992"/>
                        <a:pt x="5136" y="101433"/>
                        <a:pt x="0" y="99294"/>
                      </a:cubicBezTo>
                      <a:lnTo>
                        <a:pt x="24363" y="74931"/>
                      </a:lnTo>
                      <a:cubicBezTo>
                        <a:pt x="13900" y="55993"/>
                        <a:pt x="17267" y="32109"/>
                        <a:pt x="32619" y="16752"/>
                      </a:cubicBezTo>
                      <a:lnTo>
                        <a:pt x="47040" y="2336"/>
                      </a:lnTo>
                      <a:cubicBezTo>
                        <a:pt x="50157" y="-781"/>
                        <a:pt x="55211" y="-776"/>
                        <a:pt x="58323" y="2336"/>
                      </a:cubicBezTo>
                      <a:lnTo>
                        <a:pt x="159403" y="103417"/>
                      </a:lnTo>
                      <a:cubicBezTo>
                        <a:pt x="162521" y="106534"/>
                        <a:pt x="162521" y="111587"/>
                        <a:pt x="159403" y="114699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84095E94-ED7F-4CEE-B00C-E456E3559836}"/>
                    </a:ext>
                  </a:extLst>
                </p:cNvPr>
                <p:cNvSpPr/>
                <p:nvPr/>
              </p:nvSpPr>
              <p:spPr>
                <a:xfrm>
                  <a:off x="-399111" y="3164739"/>
                  <a:ext cx="57982" cy="57982"/>
                </a:xfrm>
                <a:custGeom>
                  <a:avLst/>
                  <a:gdLst>
                    <a:gd name="connsiteX0" fmla="*/ 58171 w 57982"/>
                    <a:gd name="connsiteY0" fmla="*/ 11283 h 57982"/>
                    <a:gd name="connsiteX1" fmla="*/ 13626 w 57982"/>
                    <a:gd name="connsiteY1" fmla="*/ 55828 h 57982"/>
                    <a:gd name="connsiteX2" fmla="*/ 7982 w 57982"/>
                    <a:gd name="connsiteY2" fmla="*/ 58168 h 57982"/>
                    <a:gd name="connsiteX3" fmla="*/ 2338 w 57982"/>
                    <a:gd name="connsiteY3" fmla="*/ 55828 h 57982"/>
                    <a:gd name="connsiteX4" fmla="*/ 2338 w 57982"/>
                    <a:gd name="connsiteY4" fmla="*/ 44545 h 57982"/>
                    <a:gd name="connsiteX5" fmla="*/ 46888 w 57982"/>
                    <a:gd name="connsiteY5" fmla="*/ 0 h 579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7982" h="57982">
                      <a:moveTo>
                        <a:pt x="58171" y="11283"/>
                      </a:moveTo>
                      <a:lnTo>
                        <a:pt x="13626" y="55828"/>
                      </a:lnTo>
                      <a:cubicBezTo>
                        <a:pt x="12067" y="57386"/>
                        <a:pt x="10025" y="58168"/>
                        <a:pt x="7982" y="58168"/>
                      </a:cubicBezTo>
                      <a:cubicBezTo>
                        <a:pt x="5939" y="58168"/>
                        <a:pt x="3897" y="57386"/>
                        <a:pt x="2338" y="55828"/>
                      </a:cubicBezTo>
                      <a:cubicBezTo>
                        <a:pt x="-779" y="52711"/>
                        <a:pt x="-779" y="47662"/>
                        <a:pt x="2338" y="44545"/>
                      </a:cubicBezTo>
                      <a:lnTo>
                        <a:pt x="46888" y="0"/>
                      </a:ln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0A92EE3F-40F0-451C-9A25-E00E98605CD9}"/>
                    </a:ext>
                  </a:extLst>
                </p:cNvPr>
                <p:cNvSpPr/>
                <p:nvPr/>
              </p:nvSpPr>
              <p:spPr>
                <a:xfrm>
                  <a:off x="-401846" y="3057772"/>
                  <a:ext cx="167563" cy="167563"/>
                </a:xfrm>
                <a:custGeom>
                  <a:avLst/>
                  <a:gdLst>
                    <a:gd name="connsiteX0" fmla="*/ 167834 w 167563"/>
                    <a:gd name="connsiteY0" fmla="*/ 103296 h 167563"/>
                    <a:gd name="connsiteX1" fmla="*/ 142050 w 167563"/>
                    <a:gd name="connsiteY1" fmla="*/ 165539 h 167563"/>
                    <a:gd name="connsiteX2" fmla="*/ 130762 w 167563"/>
                    <a:gd name="connsiteY2" fmla="*/ 165539 h 167563"/>
                    <a:gd name="connsiteX3" fmla="*/ 2334 w 167563"/>
                    <a:gd name="connsiteY3" fmla="*/ 37106 h 167563"/>
                    <a:gd name="connsiteX4" fmla="*/ 2334 w 167563"/>
                    <a:gd name="connsiteY4" fmla="*/ 25823 h 167563"/>
                    <a:gd name="connsiteX5" fmla="*/ 103862 w 167563"/>
                    <a:gd name="connsiteY5" fmla="*/ 9269 h 167563"/>
                    <a:gd name="connsiteX6" fmla="*/ 142050 w 167563"/>
                    <a:gd name="connsiteY6" fmla="*/ 41053 h 167563"/>
                    <a:gd name="connsiteX7" fmla="*/ 167834 w 167563"/>
                    <a:gd name="connsiteY7" fmla="*/ 103296 h 1675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7563" h="167563">
                      <a:moveTo>
                        <a:pt x="167834" y="103296"/>
                      </a:moveTo>
                      <a:cubicBezTo>
                        <a:pt x="167823" y="126372"/>
                        <a:pt x="158994" y="148584"/>
                        <a:pt x="142050" y="165539"/>
                      </a:cubicBezTo>
                      <a:cubicBezTo>
                        <a:pt x="138952" y="168637"/>
                        <a:pt x="133900" y="168665"/>
                        <a:pt x="130762" y="165539"/>
                      </a:cubicBezTo>
                      <a:lnTo>
                        <a:pt x="2334" y="37106"/>
                      </a:lnTo>
                      <a:cubicBezTo>
                        <a:pt x="-771" y="34000"/>
                        <a:pt x="-785" y="28942"/>
                        <a:pt x="2334" y="25823"/>
                      </a:cubicBezTo>
                      <a:cubicBezTo>
                        <a:pt x="29150" y="-992"/>
                        <a:pt x="69950" y="-7647"/>
                        <a:pt x="103862" y="9269"/>
                      </a:cubicBezTo>
                      <a:cubicBezTo>
                        <a:pt x="119257" y="16957"/>
                        <a:pt x="126097" y="25105"/>
                        <a:pt x="142050" y="41053"/>
                      </a:cubicBezTo>
                      <a:cubicBezTo>
                        <a:pt x="158677" y="57679"/>
                        <a:pt x="167834" y="79961"/>
                        <a:pt x="167834" y="103296"/>
                      </a:cubicBezTo>
                      <a:close/>
                    </a:path>
                  </a:pathLst>
                </a:custGeom>
                <a:grpFill/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96833980-E3BE-4585-A011-010E6CBA2CD2}"/>
                </a:ext>
              </a:extLst>
            </p:cNvPr>
            <p:cNvGrpSpPr/>
            <p:nvPr/>
          </p:nvGrpSpPr>
          <p:grpSpPr>
            <a:xfrm>
              <a:off x="8846731" y="3922822"/>
              <a:ext cx="2418842" cy="1302873"/>
              <a:chOff x="3878092" y="4365626"/>
              <a:chExt cx="2418842" cy="1302873"/>
            </a:xfrm>
          </p:grpSpPr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372F9236-A321-416B-ADB4-8595E1695084}"/>
                  </a:ext>
                </a:extLst>
              </p:cNvPr>
              <p:cNvSpPr txBox="1"/>
              <p:nvPr/>
            </p:nvSpPr>
            <p:spPr>
              <a:xfrm>
                <a:off x="3878092" y="5000944"/>
                <a:ext cx="2355342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16ED2BF1-D6F4-4D1F-8000-C74847A8B3B2}"/>
                  </a:ext>
                </a:extLst>
              </p:cNvPr>
              <p:cNvSpPr/>
              <p:nvPr/>
            </p:nvSpPr>
            <p:spPr>
              <a:xfrm>
                <a:off x="3978519" y="4365626"/>
                <a:ext cx="2254915" cy="525468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228600" dist="114300" dir="8100000" algn="tr" rotWithShape="0">
                  <a:prstClr val="black">
                    <a:alpha val="1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7A98B7CE-B2DA-4EBB-A401-2025F97F8936}"/>
                  </a:ext>
                </a:extLst>
              </p:cNvPr>
              <p:cNvSpPr txBox="1"/>
              <p:nvPr/>
            </p:nvSpPr>
            <p:spPr>
              <a:xfrm>
                <a:off x="4577077" y="4425869"/>
                <a:ext cx="1719857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December 2021</a:t>
                </a:r>
              </a:p>
            </p:txBody>
          </p:sp>
          <p:sp>
            <p:nvSpPr>
              <p:cNvPr id="85" name="Graphic 181">
                <a:extLst>
                  <a:ext uri="{FF2B5EF4-FFF2-40B4-BE49-F238E27FC236}">
                    <a16:creationId xmlns:a16="http://schemas.microsoft.com/office/drawing/2014/main" id="{26AB451B-DDEB-4576-808E-17CF4C50903E}"/>
                  </a:ext>
                </a:extLst>
              </p:cNvPr>
              <p:cNvSpPr/>
              <p:nvPr/>
            </p:nvSpPr>
            <p:spPr>
              <a:xfrm>
                <a:off x="4195862" y="4492182"/>
                <a:ext cx="272357" cy="272357"/>
              </a:xfrm>
              <a:custGeom>
                <a:avLst/>
                <a:gdLst>
                  <a:gd name="connsiteX0" fmla="*/ 173187 w 272357"/>
                  <a:gd name="connsiteY0" fmla="*/ 0 h 272357"/>
                  <a:gd name="connsiteX1" fmla="*/ 74016 w 272357"/>
                  <a:gd name="connsiteY1" fmla="*/ 99166 h 272357"/>
                  <a:gd name="connsiteX2" fmla="*/ 97650 w 272357"/>
                  <a:gd name="connsiteY2" fmla="*/ 163425 h 272357"/>
                  <a:gd name="connsiteX3" fmla="*/ 82000 w 272357"/>
                  <a:gd name="connsiteY3" fmla="*/ 179080 h 272357"/>
                  <a:gd name="connsiteX4" fmla="*/ 76356 w 272357"/>
                  <a:gd name="connsiteY4" fmla="*/ 173431 h 272357"/>
                  <a:gd name="connsiteX5" fmla="*/ 65074 w 272357"/>
                  <a:gd name="connsiteY5" fmla="*/ 173431 h 272357"/>
                  <a:gd name="connsiteX6" fmla="*/ 2336 w 272357"/>
                  <a:gd name="connsiteY6" fmla="*/ 236169 h 272357"/>
                  <a:gd name="connsiteX7" fmla="*/ 2336 w 272357"/>
                  <a:gd name="connsiteY7" fmla="*/ 247451 h 272357"/>
                  <a:gd name="connsiteX8" fmla="*/ 24906 w 272357"/>
                  <a:gd name="connsiteY8" fmla="*/ 270022 h 272357"/>
                  <a:gd name="connsiteX9" fmla="*/ 36189 w 272357"/>
                  <a:gd name="connsiteY9" fmla="*/ 270022 h 272357"/>
                  <a:gd name="connsiteX10" fmla="*/ 98922 w 272357"/>
                  <a:gd name="connsiteY10" fmla="*/ 207284 h 272357"/>
                  <a:gd name="connsiteX11" fmla="*/ 98922 w 272357"/>
                  <a:gd name="connsiteY11" fmla="*/ 196001 h 272357"/>
                  <a:gd name="connsiteX12" fmla="*/ 93283 w 272357"/>
                  <a:gd name="connsiteY12" fmla="*/ 190363 h 272357"/>
                  <a:gd name="connsiteX13" fmla="*/ 108933 w 272357"/>
                  <a:gd name="connsiteY13" fmla="*/ 174707 h 272357"/>
                  <a:gd name="connsiteX14" fmla="*/ 173187 w 272357"/>
                  <a:gd name="connsiteY14" fmla="*/ 198342 h 272357"/>
                  <a:gd name="connsiteX15" fmla="*/ 272358 w 272357"/>
                  <a:gd name="connsiteY15" fmla="*/ 99166 h 272357"/>
                  <a:gd name="connsiteX16" fmla="*/ 173187 w 272357"/>
                  <a:gd name="connsiteY16" fmla="*/ 0 h 272357"/>
                  <a:gd name="connsiteX17" fmla="*/ 173187 w 272357"/>
                  <a:gd name="connsiteY17" fmla="*/ 47875 h 272357"/>
                  <a:gd name="connsiteX18" fmla="*/ 121891 w 272357"/>
                  <a:gd name="connsiteY18" fmla="*/ 99171 h 272357"/>
                  <a:gd name="connsiteX19" fmla="*/ 113912 w 272357"/>
                  <a:gd name="connsiteY19" fmla="*/ 107150 h 272357"/>
                  <a:gd name="connsiteX20" fmla="*/ 105933 w 272357"/>
                  <a:gd name="connsiteY20" fmla="*/ 99171 h 272357"/>
                  <a:gd name="connsiteX21" fmla="*/ 173187 w 272357"/>
                  <a:gd name="connsiteY21" fmla="*/ 31917 h 272357"/>
                  <a:gd name="connsiteX22" fmla="*/ 181166 w 272357"/>
                  <a:gd name="connsiteY22" fmla="*/ 39896 h 272357"/>
                  <a:gd name="connsiteX23" fmla="*/ 173187 w 272357"/>
                  <a:gd name="connsiteY23" fmla="*/ 47875 h 272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2357" h="272357">
                    <a:moveTo>
                      <a:pt x="173187" y="0"/>
                    </a:moveTo>
                    <a:cubicBezTo>
                      <a:pt x="118503" y="0"/>
                      <a:pt x="74016" y="44487"/>
                      <a:pt x="74016" y="99166"/>
                    </a:cubicBezTo>
                    <a:cubicBezTo>
                      <a:pt x="74016" y="123039"/>
                      <a:pt x="82452" y="145546"/>
                      <a:pt x="97650" y="163425"/>
                    </a:cubicBezTo>
                    <a:lnTo>
                      <a:pt x="82000" y="179080"/>
                    </a:lnTo>
                    <a:lnTo>
                      <a:pt x="76356" y="173431"/>
                    </a:lnTo>
                    <a:cubicBezTo>
                      <a:pt x="73239" y="170319"/>
                      <a:pt x="68186" y="170319"/>
                      <a:pt x="65074" y="173431"/>
                    </a:cubicBezTo>
                    <a:lnTo>
                      <a:pt x="2336" y="236169"/>
                    </a:lnTo>
                    <a:cubicBezTo>
                      <a:pt x="-776" y="239281"/>
                      <a:pt x="-781" y="244334"/>
                      <a:pt x="2336" y="247451"/>
                    </a:cubicBezTo>
                    <a:lnTo>
                      <a:pt x="24906" y="270022"/>
                    </a:lnTo>
                    <a:cubicBezTo>
                      <a:pt x="28024" y="273134"/>
                      <a:pt x="33072" y="273139"/>
                      <a:pt x="36189" y="270022"/>
                    </a:cubicBezTo>
                    <a:lnTo>
                      <a:pt x="98922" y="207284"/>
                    </a:lnTo>
                    <a:cubicBezTo>
                      <a:pt x="102039" y="204172"/>
                      <a:pt x="102039" y="199119"/>
                      <a:pt x="98922" y="196001"/>
                    </a:cubicBezTo>
                    <a:lnTo>
                      <a:pt x="93283" y="190363"/>
                    </a:lnTo>
                    <a:lnTo>
                      <a:pt x="108933" y="174707"/>
                    </a:lnTo>
                    <a:cubicBezTo>
                      <a:pt x="126854" y="189942"/>
                      <a:pt x="149377" y="198342"/>
                      <a:pt x="173187" y="198342"/>
                    </a:cubicBezTo>
                    <a:cubicBezTo>
                      <a:pt x="227871" y="198342"/>
                      <a:pt x="272358" y="153855"/>
                      <a:pt x="272358" y="99166"/>
                    </a:cubicBezTo>
                    <a:cubicBezTo>
                      <a:pt x="272358" y="44487"/>
                      <a:pt x="227871" y="0"/>
                      <a:pt x="173187" y="0"/>
                    </a:cubicBezTo>
                    <a:close/>
                    <a:moveTo>
                      <a:pt x="173187" y="47875"/>
                    </a:moveTo>
                    <a:cubicBezTo>
                      <a:pt x="144903" y="47875"/>
                      <a:pt x="121891" y="70887"/>
                      <a:pt x="121891" y="99171"/>
                    </a:cubicBezTo>
                    <a:cubicBezTo>
                      <a:pt x="121891" y="103575"/>
                      <a:pt x="118316" y="107150"/>
                      <a:pt x="113912" y="107150"/>
                    </a:cubicBezTo>
                    <a:cubicBezTo>
                      <a:pt x="109502" y="107150"/>
                      <a:pt x="105933" y="103575"/>
                      <a:pt x="105933" y="99171"/>
                    </a:cubicBezTo>
                    <a:cubicBezTo>
                      <a:pt x="105933" y="62089"/>
                      <a:pt x="136105" y="31917"/>
                      <a:pt x="173187" y="31917"/>
                    </a:cubicBezTo>
                    <a:cubicBezTo>
                      <a:pt x="177591" y="31917"/>
                      <a:pt x="181166" y="35492"/>
                      <a:pt x="181166" y="39896"/>
                    </a:cubicBezTo>
                    <a:cubicBezTo>
                      <a:pt x="181166" y="44301"/>
                      <a:pt x="177591" y="47875"/>
                      <a:pt x="173187" y="47875"/>
                    </a:cubicBezTo>
                    <a:close/>
                  </a:path>
                </a:pathLst>
              </a:custGeom>
              <a:solidFill>
                <a:schemeClr val="bg1"/>
              </a:solidFill>
              <a:ln w="52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1178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0" name="Object 3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F41B8C36-6C34-4A2D-ABEF-D926760243A4}"/>
              </a:ext>
            </a:extLst>
          </p:cNvPr>
          <p:cNvGrpSpPr/>
          <p:nvPr/>
        </p:nvGrpSpPr>
        <p:grpSpPr>
          <a:xfrm>
            <a:off x="771918" y="209550"/>
            <a:ext cx="5865522" cy="5865522"/>
            <a:chOff x="3996812" y="1696064"/>
            <a:chExt cx="4527755" cy="4527755"/>
          </a:xfrm>
          <a:effectLst>
            <a:outerShdw blurRad="317500" dist="12700" dir="2700000" sy="-23000" kx="-800400" algn="bl" rotWithShape="0">
              <a:prstClr val="black">
                <a:alpha val="8000"/>
              </a:prstClr>
            </a:outerShdw>
          </a:effectLst>
          <a:scene3d>
            <a:camera prst="isometricOffAxis2Right">
              <a:rot lat="600000" lon="18600000" rev="0"/>
            </a:camera>
            <a:lightRig rig="soft" dir="t">
              <a:rot lat="0" lon="0" rev="18600000"/>
            </a:lightRig>
          </a:scene3d>
        </p:grpSpPr>
        <p:sp>
          <p:nvSpPr>
            <p:cNvPr id="2" name="Block Arc 1">
              <a:extLst>
                <a:ext uri="{FF2B5EF4-FFF2-40B4-BE49-F238E27FC236}">
                  <a16:creationId xmlns:a16="http://schemas.microsoft.com/office/drawing/2014/main" id="{2640AE79-3A29-4492-8574-9B4219DBA6F8}"/>
                </a:ext>
              </a:extLst>
            </p:cNvPr>
            <p:cNvSpPr/>
            <p:nvPr/>
          </p:nvSpPr>
          <p:spPr>
            <a:xfrm>
              <a:off x="3996812" y="1696064"/>
              <a:ext cx="4527755" cy="4527755"/>
            </a:xfrm>
            <a:prstGeom prst="blockArc">
              <a:avLst>
                <a:gd name="adj1" fmla="val 21198745"/>
                <a:gd name="adj2" fmla="val 12463720"/>
                <a:gd name="adj3" fmla="val 7270"/>
              </a:avLst>
            </a:prstGeom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Block Arc 7">
              <a:extLst>
                <a:ext uri="{FF2B5EF4-FFF2-40B4-BE49-F238E27FC236}">
                  <a16:creationId xmlns:a16="http://schemas.microsoft.com/office/drawing/2014/main" id="{4691728B-B108-4446-ABEA-30AD80AFA6E8}"/>
                </a:ext>
              </a:extLst>
            </p:cNvPr>
            <p:cNvSpPr/>
            <p:nvPr/>
          </p:nvSpPr>
          <p:spPr>
            <a:xfrm>
              <a:off x="4420205" y="2119457"/>
              <a:ext cx="3680969" cy="3680969"/>
            </a:xfrm>
            <a:prstGeom prst="blockArc">
              <a:avLst>
                <a:gd name="adj1" fmla="val 1944613"/>
                <a:gd name="adj2" fmla="val 15059720"/>
                <a:gd name="adj3" fmla="val 8946"/>
              </a:avLst>
            </a:prstGeom>
            <a:solidFill>
              <a:schemeClr val="accent2"/>
            </a:solidFill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9" name="Block Arc 8">
              <a:extLst>
                <a:ext uri="{FF2B5EF4-FFF2-40B4-BE49-F238E27FC236}">
                  <a16:creationId xmlns:a16="http://schemas.microsoft.com/office/drawing/2014/main" id="{FE46E34A-FF98-40F5-B381-B74684822C11}"/>
                </a:ext>
              </a:extLst>
            </p:cNvPr>
            <p:cNvSpPr/>
            <p:nvPr/>
          </p:nvSpPr>
          <p:spPr>
            <a:xfrm>
              <a:off x="4856928" y="2556180"/>
              <a:ext cx="2807522" cy="2807522"/>
            </a:xfrm>
            <a:prstGeom prst="blockArc">
              <a:avLst>
                <a:gd name="adj1" fmla="val 4753816"/>
                <a:gd name="adj2" fmla="val 14215412"/>
                <a:gd name="adj3" fmla="val 11065"/>
              </a:avLst>
            </a:prstGeom>
            <a:solidFill>
              <a:schemeClr val="accent3"/>
            </a:solidFill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" name="Block Arc 9">
              <a:extLst>
                <a:ext uri="{FF2B5EF4-FFF2-40B4-BE49-F238E27FC236}">
                  <a16:creationId xmlns:a16="http://schemas.microsoft.com/office/drawing/2014/main" id="{3DDB9987-F25E-4AA5-80F4-777E4C9D86F1}"/>
                </a:ext>
              </a:extLst>
            </p:cNvPr>
            <p:cNvSpPr/>
            <p:nvPr/>
          </p:nvSpPr>
          <p:spPr>
            <a:xfrm>
              <a:off x="5276028" y="2975280"/>
              <a:ext cx="1969322" cy="1969322"/>
            </a:xfrm>
            <a:prstGeom prst="blockArc">
              <a:avLst>
                <a:gd name="adj1" fmla="val 3423824"/>
                <a:gd name="adj2" fmla="val 283136"/>
                <a:gd name="adj3" fmla="val 13657"/>
              </a:avLst>
            </a:prstGeom>
            <a:solidFill>
              <a:schemeClr val="accent4"/>
            </a:solidFill>
            <a:ln>
              <a:noFill/>
            </a:ln>
            <a:sp3d extrusionH="952500" prstMaterial="metal">
              <a:contourClr>
                <a:schemeClr val="tx1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5224959F-AF21-4FDC-AAFA-E7C28DBD7776}"/>
              </a:ext>
            </a:extLst>
          </p:cNvPr>
          <p:cNvSpPr txBox="1"/>
          <p:nvPr/>
        </p:nvSpPr>
        <p:spPr>
          <a:xfrm>
            <a:off x="6006766" y="1451223"/>
            <a:ext cx="61852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 Step 3D Cylindrical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899CDA77-FF44-498D-9E35-0E88F4004BC4}"/>
              </a:ext>
            </a:extLst>
          </p:cNvPr>
          <p:cNvGrpSpPr/>
          <p:nvPr/>
        </p:nvGrpSpPr>
        <p:grpSpPr>
          <a:xfrm>
            <a:off x="6006766" y="2704941"/>
            <a:ext cx="2684879" cy="1351028"/>
            <a:chOff x="8728393" y="1755158"/>
            <a:chExt cx="2684879" cy="1351028"/>
          </a:xfrm>
        </p:grpSpPr>
        <p:sp>
          <p:nvSpPr>
            <p:cNvPr id="101" name="Rectangle: Rounded Corners 100">
              <a:extLst>
                <a:ext uri="{FF2B5EF4-FFF2-40B4-BE49-F238E27FC236}">
                  <a16:creationId xmlns:a16="http://schemas.microsoft.com/office/drawing/2014/main" id="{5C4BDFC9-1AFB-43D1-9303-4C4972ACC3D7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AD3CAF7E-B84B-44DE-82F0-6E5846753804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996A797-35D5-4F7B-B26B-4220DDF9DAF6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58026FD1-78E8-408C-9F43-D03F3577C82B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One</a:t>
                </a:r>
              </a:p>
            </p:txBody>
          </p: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DD9EDAA-0BF9-495F-896E-426BBF5CD368}"/>
              </a:ext>
            </a:extLst>
          </p:cNvPr>
          <p:cNvGrpSpPr/>
          <p:nvPr/>
        </p:nvGrpSpPr>
        <p:grpSpPr>
          <a:xfrm>
            <a:off x="8866696" y="2704941"/>
            <a:ext cx="2684879" cy="1351028"/>
            <a:chOff x="8728393" y="1755158"/>
            <a:chExt cx="2684879" cy="1351028"/>
          </a:xfrm>
        </p:grpSpPr>
        <p:sp>
          <p:nvSpPr>
            <p:cNvPr id="106" name="Rectangle: Rounded Corners 105">
              <a:extLst>
                <a:ext uri="{FF2B5EF4-FFF2-40B4-BE49-F238E27FC236}">
                  <a16:creationId xmlns:a16="http://schemas.microsoft.com/office/drawing/2014/main" id="{37B21C68-CAA9-4330-AA40-F6AF14751A86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64ABFC6A-724E-4C58-86C7-054C189AE713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6ABB3283-B00D-440C-BEF1-AA85AE454D85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E80C67C2-6DE1-4B47-9BAC-C68075F32A0E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Two</a:t>
                </a:r>
              </a:p>
            </p:txBody>
          </p:sp>
        </p:grp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2B23835-DF93-49E8-B3CB-99C6241C7DEE}"/>
              </a:ext>
            </a:extLst>
          </p:cNvPr>
          <p:cNvGrpSpPr/>
          <p:nvPr/>
        </p:nvGrpSpPr>
        <p:grpSpPr>
          <a:xfrm>
            <a:off x="6006765" y="4175555"/>
            <a:ext cx="2684879" cy="1351028"/>
            <a:chOff x="8728393" y="1755158"/>
            <a:chExt cx="2684879" cy="1351028"/>
          </a:xfrm>
        </p:grpSpPr>
        <p:sp>
          <p:nvSpPr>
            <p:cNvPr id="111" name="Rectangle: Rounded Corners 110">
              <a:extLst>
                <a:ext uri="{FF2B5EF4-FFF2-40B4-BE49-F238E27FC236}">
                  <a16:creationId xmlns:a16="http://schemas.microsoft.com/office/drawing/2014/main" id="{DF88619E-F090-4C6B-8C92-EFD09CE61C19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7F0C56F2-2165-4680-BCD5-F3927BF310A7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3289703B-7055-4381-B89D-44D30B2BA3BC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C80A9C7F-F5CF-4EDA-80AF-182F2D49C893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Three</a:t>
                </a:r>
              </a:p>
            </p:txBody>
          </p:sp>
        </p:grp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9FC218D7-A808-4CA2-9119-ED17FFCC77F7}"/>
              </a:ext>
            </a:extLst>
          </p:cNvPr>
          <p:cNvGrpSpPr/>
          <p:nvPr/>
        </p:nvGrpSpPr>
        <p:grpSpPr>
          <a:xfrm>
            <a:off x="8878374" y="4175053"/>
            <a:ext cx="2684879" cy="1351028"/>
            <a:chOff x="8728393" y="1755158"/>
            <a:chExt cx="2684879" cy="1351028"/>
          </a:xfrm>
        </p:grpSpPr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08095E41-16A8-4853-B474-D8C968854AC8}"/>
                </a:ext>
              </a:extLst>
            </p:cNvPr>
            <p:cNvSpPr/>
            <p:nvPr/>
          </p:nvSpPr>
          <p:spPr>
            <a:xfrm>
              <a:off x="8728393" y="1755158"/>
              <a:ext cx="2684879" cy="1351028"/>
            </a:xfrm>
            <a:prstGeom prst="roundRect">
              <a:avLst>
                <a:gd name="adj" fmla="val 79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 dirty="0"/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5D60921B-E6F3-4694-8CEC-980BA0A371A5}"/>
                </a:ext>
              </a:extLst>
            </p:cNvPr>
            <p:cNvGrpSpPr/>
            <p:nvPr/>
          </p:nvGrpSpPr>
          <p:grpSpPr>
            <a:xfrm>
              <a:off x="8959090" y="1847358"/>
              <a:ext cx="2246843" cy="1072538"/>
              <a:chOff x="8872006" y="1818316"/>
              <a:chExt cx="2246843" cy="1072538"/>
            </a:xfrm>
          </p:grpSpPr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1DC0BA59-DDFA-46E0-9749-2FEF72ECE60B}"/>
                  </a:ext>
                </a:extLst>
              </p:cNvPr>
              <p:cNvSpPr txBox="1"/>
              <p:nvPr/>
            </p:nvSpPr>
            <p:spPr>
              <a:xfrm>
                <a:off x="8872006" y="2223299"/>
                <a:ext cx="2246843" cy="6675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3AC34851-231C-4AB6-90A0-C876DE9A5D33}"/>
                  </a:ext>
                </a:extLst>
              </p:cNvPr>
              <p:cNvSpPr txBox="1"/>
              <p:nvPr/>
            </p:nvSpPr>
            <p:spPr>
              <a:xfrm>
                <a:off x="8872006" y="1818316"/>
                <a:ext cx="1995490" cy="404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Project Fou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1995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868BA2AD-92EF-407B-A8FA-984BFCD887C5}"/>
              </a:ext>
            </a:extLst>
          </p:cNvPr>
          <p:cNvGrpSpPr/>
          <p:nvPr/>
        </p:nvGrpSpPr>
        <p:grpSpPr>
          <a:xfrm>
            <a:off x="1194137" y="604768"/>
            <a:ext cx="9974534" cy="5335994"/>
            <a:chOff x="1003068" y="495584"/>
            <a:chExt cx="9974534" cy="533599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F737A60-816A-43ED-BA4F-9AD4D31F7F70}"/>
                </a:ext>
              </a:extLst>
            </p:cNvPr>
            <p:cNvGrpSpPr/>
            <p:nvPr/>
          </p:nvGrpSpPr>
          <p:grpSpPr>
            <a:xfrm>
              <a:off x="3681897" y="495584"/>
              <a:ext cx="7295705" cy="5335994"/>
              <a:chOff x="3158553" y="552350"/>
              <a:chExt cx="7295705" cy="5335994"/>
            </a:xfrm>
          </p:grpSpPr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FDC2374B-01AA-4D41-B32A-5FBB5D2FA770}"/>
                  </a:ext>
                </a:extLst>
              </p:cNvPr>
              <p:cNvGrpSpPr/>
              <p:nvPr/>
            </p:nvGrpSpPr>
            <p:grpSpPr>
              <a:xfrm>
                <a:off x="6205076" y="5078494"/>
                <a:ext cx="2416459" cy="406484"/>
                <a:chOff x="7183928" y="1386112"/>
                <a:chExt cx="2416459" cy="406484"/>
              </a:xfrm>
            </p:grpSpPr>
            <p:grpSp>
              <p:nvGrpSpPr>
                <p:cNvPr id="185" name="Group 184">
                  <a:extLst>
                    <a:ext uri="{FF2B5EF4-FFF2-40B4-BE49-F238E27FC236}">
                      <a16:creationId xmlns:a16="http://schemas.microsoft.com/office/drawing/2014/main" id="{9A3FA039-3B71-428A-AA60-45267BF4F8DE}"/>
                    </a:ext>
                  </a:extLst>
                </p:cNvPr>
                <p:cNvGrpSpPr/>
                <p:nvPr/>
              </p:nvGrpSpPr>
              <p:grpSpPr>
                <a:xfrm>
                  <a:off x="7183928" y="1386112"/>
                  <a:ext cx="406484" cy="406484"/>
                  <a:chOff x="1569443" y="1965862"/>
                  <a:chExt cx="569756" cy="569756"/>
                </a:xfrm>
              </p:grpSpPr>
              <p:sp>
                <p:nvSpPr>
                  <p:cNvPr id="187" name="Oval 186">
                    <a:extLst>
                      <a:ext uri="{FF2B5EF4-FFF2-40B4-BE49-F238E27FC236}">
                        <a16:creationId xmlns:a16="http://schemas.microsoft.com/office/drawing/2014/main" id="{7A8B4199-91C8-4DD5-BD37-EA3F24EBA496}"/>
                      </a:ext>
                    </a:extLst>
                  </p:cNvPr>
                  <p:cNvSpPr/>
                  <p:nvPr/>
                </p:nvSpPr>
                <p:spPr>
                  <a:xfrm>
                    <a:off x="1569443" y="1965862"/>
                    <a:ext cx="569756" cy="569756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88" name="Oval 187">
                    <a:extLst>
                      <a:ext uri="{FF2B5EF4-FFF2-40B4-BE49-F238E27FC236}">
                        <a16:creationId xmlns:a16="http://schemas.microsoft.com/office/drawing/2014/main" id="{1508B2DD-E0BF-408D-B039-1D3D1118A7FF}"/>
                      </a:ext>
                    </a:extLst>
                  </p:cNvPr>
                  <p:cNvSpPr/>
                  <p:nvPr/>
                </p:nvSpPr>
                <p:spPr>
                  <a:xfrm>
                    <a:off x="1673644" y="2070063"/>
                    <a:ext cx="361354" cy="361354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63500">
                    <a:noFill/>
                  </a:ln>
                  <a:effectLst>
                    <a:outerShdw blurRad="203200" dist="76200" dir="10260000" algn="ctr" rotWithShape="0">
                      <a:srgbClr val="000000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  <p:cxnSp>
              <p:nvCxnSpPr>
                <p:cNvPr id="186" name="Straight Connector 185">
                  <a:extLst>
                    <a:ext uri="{FF2B5EF4-FFF2-40B4-BE49-F238E27FC236}">
                      <a16:creationId xmlns:a16="http://schemas.microsoft.com/office/drawing/2014/main" id="{F11F7408-9F0A-48FC-90FC-F8B9089943CE}"/>
                    </a:ext>
                  </a:extLst>
                </p:cNvPr>
                <p:cNvCxnSpPr>
                  <a:cxnSpLocks/>
                  <a:stCxn id="187" idx="6"/>
                </p:cNvCxnSpPr>
                <p:nvPr/>
              </p:nvCxnSpPr>
              <p:spPr>
                <a:xfrm>
                  <a:off x="7590412" y="1589354"/>
                  <a:ext cx="2009975" cy="14172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accent1">
                      <a:alpha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2BCF8570-79C6-4E6A-8401-276DB56CE6C2}"/>
                  </a:ext>
                </a:extLst>
              </p:cNvPr>
              <p:cNvGrpSpPr/>
              <p:nvPr/>
            </p:nvGrpSpPr>
            <p:grpSpPr>
              <a:xfrm>
                <a:off x="6882395" y="3739049"/>
                <a:ext cx="2416459" cy="406484"/>
                <a:chOff x="7183928" y="2598827"/>
                <a:chExt cx="2416459" cy="406484"/>
              </a:xfrm>
            </p:grpSpPr>
            <p:cxnSp>
              <p:nvCxnSpPr>
                <p:cNvPr id="190" name="Straight Connector 189">
                  <a:extLst>
                    <a:ext uri="{FF2B5EF4-FFF2-40B4-BE49-F238E27FC236}">
                      <a16:creationId xmlns:a16="http://schemas.microsoft.com/office/drawing/2014/main" id="{CCEF1E4E-E2D9-4620-B893-A1033D14D0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90412" y="2807047"/>
                  <a:ext cx="2009975" cy="14172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>
                      <a:lumMod val="50000"/>
                      <a:alpha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91" name="Group 190">
                  <a:extLst>
                    <a:ext uri="{FF2B5EF4-FFF2-40B4-BE49-F238E27FC236}">
                      <a16:creationId xmlns:a16="http://schemas.microsoft.com/office/drawing/2014/main" id="{B961F085-5AD9-4E85-87FD-082CF9A6CEAE}"/>
                    </a:ext>
                  </a:extLst>
                </p:cNvPr>
                <p:cNvGrpSpPr/>
                <p:nvPr/>
              </p:nvGrpSpPr>
              <p:grpSpPr>
                <a:xfrm>
                  <a:off x="7183928" y="2598827"/>
                  <a:ext cx="406484" cy="406484"/>
                  <a:chOff x="1569443" y="1965862"/>
                  <a:chExt cx="569756" cy="569756"/>
                </a:xfrm>
              </p:grpSpPr>
              <p:sp>
                <p:nvSpPr>
                  <p:cNvPr id="192" name="Oval 191">
                    <a:extLst>
                      <a:ext uri="{FF2B5EF4-FFF2-40B4-BE49-F238E27FC236}">
                        <a16:creationId xmlns:a16="http://schemas.microsoft.com/office/drawing/2014/main" id="{0E2261FC-2B9C-4A60-92C0-45EE6C86011B}"/>
                      </a:ext>
                    </a:extLst>
                  </p:cNvPr>
                  <p:cNvSpPr/>
                  <p:nvPr/>
                </p:nvSpPr>
                <p:spPr>
                  <a:xfrm>
                    <a:off x="1569443" y="1965862"/>
                    <a:ext cx="569756" cy="569756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3" name="Oval 192">
                    <a:extLst>
                      <a:ext uri="{FF2B5EF4-FFF2-40B4-BE49-F238E27FC236}">
                        <a16:creationId xmlns:a16="http://schemas.microsoft.com/office/drawing/2014/main" id="{7B1BB463-E306-4426-939B-20ACB8EDC76E}"/>
                      </a:ext>
                    </a:extLst>
                  </p:cNvPr>
                  <p:cNvSpPr/>
                  <p:nvPr/>
                </p:nvSpPr>
                <p:spPr>
                  <a:xfrm>
                    <a:off x="1673644" y="2070063"/>
                    <a:ext cx="361354" cy="361354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63500">
                    <a:noFill/>
                  </a:ln>
                  <a:effectLst>
                    <a:outerShdw blurRad="203200" dist="76200" dir="10260000" algn="ctr" rotWithShape="0">
                      <a:srgbClr val="000000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</p:grpSp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F76039EA-7618-4470-80BA-B60BA2BD1399}"/>
                  </a:ext>
                </a:extLst>
              </p:cNvPr>
              <p:cNvGrpSpPr/>
              <p:nvPr/>
            </p:nvGrpSpPr>
            <p:grpSpPr>
              <a:xfrm>
                <a:off x="8024661" y="2413664"/>
                <a:ext cx="1909345" cy="406484"/>
                <a:chOff x="7183928" y="3834696"/>
                <a:chExt cx="1909345" cy="406484"/>
              </a:xfrm>
            </p:grpSpPr>
            <p:cxnSp>
              <p:nvCxnSpPr>
                <p:cNvPr id="195" name="Straight Connector 194">
                  <a:extLst>
                    <a:ext uri="{FF2B5EF4-FFF2-40B4-BE49-F238E27FC236}">
                      <a16:creationId xmlns:a16="http://schemas.microsoft.com/office/drawing/2014/main" id="{2BD9CCB5-6432-4AFF-A435-5DBB547C0B7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590412" y="4045365"/>
                  <a:ext cx="1502861" cy="10596"/>
                </a:xfrm>
                <a:prstGeom prst="line">
                  <a:avLst/>
                </a:prstGeom>
                <a:solidFill>
                  <a:schemeClr val="accent3"/>
                </a:solidFill>
                <a:ln w="6350">
                  <a:solidFill>
                    <a:schemeClr val="bg1">
                      <a:lumMod val="50000"/>
                      <a:alpha val="50000"/>
                    </a:schemeClr>
                  </a:solidFill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96" name="Group 195">
                  <a:extLst>
                    <a:ext uri="{FF2B5EF4-FFF2-40B4-BE49-F238E27FC236}">
                      <a16:creationId xmlns:a16="http://schemas.microsoft.com/office/drawing/2014/main" id="{9476E737-878D-412A-A6FB-734FC45FFA24}"/>
                    </a:ext>
                  </a:extLst>
                </p:cNvPr>
                <p:cNvGrpSpPr/>
                <p:nvPr/>
              </p:nvGrpSpPr>
              <p:grpSpPr>
                <a:xfrm>
                  <a:off x="7183928" y="3834696"/>
                  <a:ext cx="406484" cy="406484"/>
                  <a:chOff x="1569443" y="1965862"/>
                  <a:chExt cx="569756" cy="569756"/>
                </a:xfrm>
              </p:grpSpPr>
              <p:sp>
                <p:nvSpPr>
                  <p:cNvPr id="197" name="Oval 196">
                    <a:extLst>
                      <a:ext uri="{FF2B5EF4-FFF2-40B4-BE49-F238E27FC236}">
                        <a16:creationId xmlns:a16="http://schemas.microsoft.com/office/drawing/2014/main" id="{09A2A8C1-B707-4D02-AB22-5ABD4C191BC7}"/>
                      </a:ext>
                    </a:extLst>
                  </p:cNvPr>
                  <p:cNvSpPr/>
                  <p:nvPr/>
                </p:nvSpPr>
                <p:spPr>
                  <a:xfrm>
                    <a:off x="1569443" y="1965862"/>
                    <a:ext cx="569756" cy="569756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98" name="Oval 197">
                    <a:extLst>
                      <a:ext uri="{FF2B5EF4-FFF2-40B4-BE49-F238E27FC236}">
                        <a16:creationId xmlns:a16="http://schemas.microsoft.com/office/drawing/2014/main" id="{7E9A124E-72E1-4A4F-BB4C-83BF40F4B4A3}"/>
                      </a:ext>
                    </a:extLst>
                  </p:cNvPr>
                  <p:cNvSpPr/>
                  <p:nvPr/>
                </p:nvSpPr>
                <p:spPr>
                  <a:xfrm>
                    <a:off x="1673644" y="2070063"/>
                    <a:ext cx="361354" cy="361354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63500">
                    <a:noFill/>
                  </a:ln>
                  <a:effectLst>
                    <a:outerShdw blurRad="203200" dist="76200" dir="10260000" algn="ctr" rotWithShape="0">
                      <a:srgbClr val="000000">
                        <a:alpha val="40000"/>
                      </a:srgb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</p:grpSp>
          </p:grpSp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37CAD8C6-2DE0-495F-9CC7-8CBA49EDFAE5}"/>
                  </a:ext>
                </a:extLst>
              </p:cNvPr>
              <p:cNvGrpSpPr/>
              <p:nvPr/>
            </p:nvGrpSpPr>
            <p:grpSpPr>
              <a:xfrm>
                <a:off x="7751718" y="552350"/>
                <a:ext cx="2702540" cy="5335994"/>
                <a:chOff x="8160221" y="552350"/>
                <a:chExt cx="2702540" cy="5335994"/>
              </a:xfrm>
            </p:grpSpPr>
            <p:sp>
              <p:nvSpPr>
                <p:cNvPr id="166" name="Rectangle 5">
                  <a:extLst>
                    <a:ext uri="{FF2B5EF4-FFF2-40B4-BE49-F238E27FC236}">
                      <a16:creationId xmlns:a16="http://schemas.microsoft.com/office/drawing/2014/main" id="{65662C7A-4C4D-41E4-8D4B-2C9ACD9D1FAF}"/>
                    </a:ext>
                  </a:extLst>
                </p:cNvPr>
                <p:cNvSpPr/>
                <p:nvPr/>
              </p:nvSpPr>
              <p:spPr>
                <a:xfrm rot="1419498">
                  <a:off x="8217135" y="4443256"/>
                  <a:ext cx="1178522" cy="569844"/>
                </a:xfrm>
                <a:custGeom>
                  <a:avLst/>
                  <a:gdLst>
                    <a:gd name="connsiteX0" fmla="*/ 0 w 504486"/>
                    <a:gd name="connsiteY0" fmla="*/ 0 h 388303"/>
                    <a:gd name="connsiteX1" fmla="*/ 504486 w 504486"/>
                    <a:gd name="connsiteY1" fmla="*/ 0 h 388303"/>
                    <a:gd name="connsiteX2" fmla="*/ 504486 w 504486"/>
                    <a:gd name="connsiteY2" fmla="*/ 388303 h 388303"/>
                    <a:gd name="connsiteX3" fmla="*/ 0 w 504486"/>
                    <a:gd name="connsiteY3" fmla="*/ 388303 h 388303"/>
                    <a:gd name="connsiteX4" fmla="*/ 0 w 504486"/>
                    <a:gd name="connsiteY4" fmla="*/ 0 h 388303"/>
                    <a:gd name="connsiteX0" fmla="*/ 0 w 680304"/>
                    <a:gd name="connsiteY0" fmla="*/ 144620 h 532923"/>
                    <a:gd name="connsiteX1" fmla="*/ 680304 w 680304"/>
                    <a:gd name="connsiteY1" fmla="*/ 0 h 532923"/>
                    <a:gd name="connsiteX2" fmla="*/ 504486 w 680304"/>
                    <a:gd name="connsiteY2" fmla="*/ 532923 h 532923"/>
                    <a:gd name="connsiteX3" fmla="*/ 0 w 680304"/>
                    <a:gd name="connsiteY3" fmla="*/ 532923 h 532923"/>
                    <a:gd name="connsiteX4" fmla="*/ 0 w 680304"/>
                    <a:gd name="connsiteY4" fmla="*/ 144620 h 532923"/>
                    <a:gd name="connsiteX0" fmla="*/ 380430 w 1060734"/>
                    <a:gd name="connsiteY0" fmla="*/ 144620 h 532923"/>
                    <a:gd name="connsiteX1" fmla="*/ 1060734 w 1060734"/>
                    <a:gd name="connsiteY1" fmla="*/ 0 h 532923"/>
                    <a:gd name="connsiteX2" fmla="*/ 884916 w 1060734"/>
                    <a:gd name="connsiteY2" fmla="*/ 532923 h 532923"/>
                    <a:gd name="connsiteX3" fmla="*/ 0 w 1060734"/>
                    <a:gd name="connsiteY3" fmla="*/ 507209 h 532923"/>
                    <a:gd name="connsiteX4" fmla="*/ 380430 w 1060734"/>
                    <a:gd name="connsiteY4" fmla="*/ 144620 h 532923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21415 w 1060734"/>
                    <a:gd name="connsiteY2" fmla="*/ 388388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73202 w 1060734"/>
                    <a:gd name="connsiteY0" fmla="*/ 139988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73202 w 1060734"/>
                    <a:gd name="connsiteY4" fmla="*/ 139988 h 507209"/>
                    <a:gd name="connsiteX0" fmla="*/ 378790 w 1060734"/>
                    <a:gd name="connsiteY0" fmla="*/ 13494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78790 w 1060734"/>
                    <a:gd name="connsiteY4" fmla="*/ 134940 h 507209"/>
                    <a:gd name="connsiteX0" fmla="*/ 378790 w 1050098"/>
                    <a:gd name="connsiteY0" fmla="*/ 135479 h 507748"/>
                    <a:gd name="connsiteX1" fmla="*/ 1050098 w 1050098"/>
                    <a:gd name="connsiteY1" fmla="*/ 0 h 507748"/>
                    <a:gd name="connsiteX2" fmla="*/ 677584 w 1050098"/>
                    <a:gd name="connsiteY2" fmla="*/ 374718 h 507748"/>
                    <a:gd name="connsiteX3" fmla="*/ 0 w 1050098"/>
                    <a:gd name="connsiteY3" fmla="*/ 507748 h 507748"/>
                    <a:gd name="connsiteX4" fmla="*/ 378790 w 1050098"/>
                    <a:gd name="connsiteY4" fmla="*/ 135479 h 5077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0098" h="507748">
                      <a:moveTo>
                        <a:pt x="378790" y="135479"/>
                      </a:moveTo>
                      <a:lnTo>
                        <a:pt x="1050098" y="0"/>
                      </a:lnTo>
                      <a:lnTo>
                        <a:pt x="677584" y="374718"/>
                      </a:lnTo>
                      <a:lnTo>
                        <a:pt x="0" y="507748"/>
                      </a:lnTo>
                      <a:lnTo>
                        <a:pt x="378790" y="135479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</p:txBody>
            </p:sp>
            <p:sp>
              <p:nvSpPr>
                <p:cNvPr id="167" name="Rectangle 14">
                  <a:extLst>
                    <a:ext uri="{FF2B5EF4-FFF2-40B4-BE49-F238E27FC236}">
                      <a16:creationId xmlns:a16="http://schemas.microsoft.com/office/drawing/2014/main" id="{FE381408-565A-4CFC-9AD1-62BCFC966BCB}"/>
                    </a:ext>
                  </a:extLst>
                </p:cNvPr>
                <p:cNvSpPr/>
                <p:nvPr/>
              </p:nvSpPr>
              <p:spPr>
                <a:xfrm>
                  <a:off x="9466828" y="3249012"/>
                  <a:ext cx="1221509" cy="1463636"/>
                </a:xfrm>
                <a:custGeom>
                  <a:avLst/>
                  <a:gdLst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195576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024798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16286"/>
                    <a:gd name="connsiteY0" fmla="*/ 243840 h 1195576"/>
                    <a:gd name="connsiteX1" fmla="*/ 616286 w 616286"/>
                    <a:gd name="connsiteY1" fmla="*/ 0 h 1195576"/>
                    <a:gd name="connsiteX2" fmla="*/ 616286 w 616286"/>
                    <a:gd name="connsiteY2" fmla="*/ 959740 h 1195576"/>
                    <a:gd name="connsiteX3" fmla="*/ 0 w 616286"/>
                    <a:gd name="connsiteY3" fmla="*/ 1195576 h 1195576"/>
                    <a:gd name="connsiteX4" fmla="*/ 0 w 616286"/>
                    <a:gd name="connsiteY4" fmla="*/ 243840 h 1195576"/>
                    <a:gd name="connsiteX0" fmla="*/ 0 w 616286"/>
                    <a:gd name="connsiteY0" fmla="*/ 396320 h 1348056"/>
                    <a:gd name="connsiteX1" fmla="*/ 608132 w 616286"/>
                    <a:gd name="connsiteY1" fmla="*/ 0 h 1348056"/>
                    <a:gd name="connsiteX2" fmla="*/ 616286 w 616286"/>
                    <a:gd name="connsiteY2" fmla="*/ 1112220 h 1348056"/>
                    <a:gd name="connsiteX3" fmla="*/ 0 w 616286"/>
                    <a:gd name="connsiteY3" fmla="*/ 1348056 h 1348056"/>
                    <a:gd name="connsiteX4" fmla="*/ 0 w 616286"/>
                    <a:gd name="connsiteY4" fmla="*/ 396320 h 1348056"/>
                    <a:gd name="connsiteX0" fmla="*/ 0 w 616286"/>
                    <a:gd name="connsiteY0" fmla="*/ 416651 h 1368387"/>
                    <a:gd name="connsiteX1" fmla="*/ 608132 w 616286"/>
                    <a:gd name="connsiteY1" fmla="*/ 0 h 1368387"/>
                    <a:gd name="connsiteX2" fmla="*/ 616286 w 616286"/>
                    <a:gd name="connsiteY2" fmla="*/ 1132551 h 1368387"/>
                    <a:gd name="connsiteX3" fmla="*/ 0 w 616286"/>
                    <a:gd name="connsiteY3" fmla="*/ 1368387 h 1368387"/>
                    <a:gd name="connsiteX4" fmla="*/ 0 w 616286"/>
                    <a:gd name="connsiteY4" fmla="*/ 416651 h 1368387"/>
                    <a:gd name="connsiteX0" fmla="*/ 0 w 610850"/>
                    <a:gd name="connsiteY0" fmla="*/ 416651 h 1368387"/>
                    <a:gd name="connsiteX1" fmla="*/ 608132 w 610850"/>
                    <a:gd name="connsiteY1" fmla="*/ 0 h 1368387"/>
                    <a:gd name="connsiteX2" fmla="*/ 610850 w 610850"/>
                    <a:gd name="connsiteY2" fmla="*/ 969905 h 1368387"/>
                    <a:gd name="connsiteX3" fmla="*/ 0 w 610850"/>
                    <a:gd name="connsiteY3" fmla="*/ 1368387 h 1368387"/>
                    <a:gd name="connsiteX4" fmla="*/ 0 w 610850"/>
                    <a:gd name="connsiteY4" fmla="*/ 416651 h 1368387"/>
                    <a:gd name="connsiteX0" fmla="*/ 0 w 610850"/>
                    <a:gd name="connsiteY0" fmla="*/ 414109 h 1365845"/>
                    <a:gd name="connsiteX1" fmla="*/ 609479 w 610850"/>
                    <a:gd name="connsiteY1" fmla="*/ 0 h 1365845"/>
                    <a:gd name="connsiteX2" fmla="*/ 610850 w 610850"/>
                    <a:gd name="connsiteY2" fmla="*/ 967363 h 1365845"/>
                    <a:gd name="connsiteX3" fmla="*/ 0 w 610850"/>
                    <a:gd name="connsiteY3" fmla="*/ 1365845 h 1365845"/>
                    <a:gd name="connsiteX4" fmla="*/ 0 w 610850"/>
                    <a:gd name="connsiteY4" fmla="*/ 414109 h 1365845"/>
                    <a:gd name="connsiteX0" fmla="*/ 0 w 609479"/>
                    <a:gd name="connsiteY0" fmla="*/ 414109 h 1365845"/>
                    <a:gd name="connsiteX1" fmla="*/ 609479 w 609479"/>
                    <a:gd name="connsiteY1" fmla="*/ 0 h 1365845"/>
                    <a:gd name="connsiteX2" fmla="*/ 608177 w 609479"/>
                    <a:gd name="connsiteY2" fmla="*/ 872595 h 1365845"/>
                    <a:gd name="connsiteX3" fmla="*/ 0 w 609479"/>
                    <a:gd name="connsiteY3" fmla="*/ 1365845 h 1365845"/>
                    <a:gd name="connsiteX4" fmla="*/ 0 w 609479"/>
                    <a:gd name="connsiteY4" fmla="*/ 414109 h 13658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479" h="1365845">
                      <a:moveTo>
                        <a:pt x="0" y="414109"/>
                      </a:moveTo>
                      <a:lnTo>
                        <a:pt x="609479" y="0"/>
                      </a:lnTo>
                      <a:lnTo>
                        <a:pt x="608177" y="872595"/>
                      </a:lnTo>
                      <a:lnTo>
                        <a:pt x="0" y="1365845"/>
                      </a:lnTo>
                      <a:lnTo>
                        <a:pt x="0" y="414109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68" name="Rectangle 14">
                  <a:extLst>
                    <a:ext uri="{FF2B5EF4-FFF2-40B4-BE49-F238E27FC236}">
                      <a16:creationId xmlns:a16="http://schemas.microsoft.com/office/drawing/2014/main" id="{2B5B99DD-4695-43EC-B204-B994BEC63E96}"/>
                    </a:ext>
                  </a:extLst>
                </p:cNvPr>
                <p:cNvSpPr/>
                <p:nvPr/>
              </p:nvSpPr>
              <p:spPr>
                <a:xfrm>
                  <a:off x="9996681" y="2279688"/>
                  <a:ext cx="691656" cy="1257267"/>
                </a:xfrm>
                <a:custGeom>
                  <a:avLst/>
                  <a:gdLst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195576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024798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16286"/>
                    <a:gd name="connsiteY0" fmla="*/ 243840 h 1195576"/>
                    <a:gd name="connsiteX1" fmla="*/ 616286 w 616286"/>
                    <a:gd name="connsiteY1" fmla="*/ 0 h 1195576"/>
                    <a:gd name="connsiteX2" fmla="*/ 616286 w 616286"/>
                    <a:gd name="connsiteY2" fmla="*/ 959740 h 1195576"/>
                    <a:gd name="connsiteX3" fmla="*/ 0 w 616286"/>
                    <a:gd name="connsiteY3" fmla="*/ 1195576 h 1195576"/>
                    <a:gd name="connsiteX4" fmla="*/ 0 w 616286"/>
                    <a:gd name="connsiteY4" fmla="*/ 243840 h 1195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6286" h="1195576">
                      <a:moveTo>
                        <a:pt x="0" y="243840"/>
                      </a:moveTo>
                      <a:lnTo>
                        <a:pt x="616286" y="0"/>
                      </a:lnTo>
                      <a:lnTo>
                        <a:pt x="616286" y="959740"/>
                      </a:lnTo>
                      <a:lnTo>
                        <a:pt x="0" y="1195576"/>
                      </a:lnTo>
                      <a:lnTo>
                        <a:pt x="0" y="24384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69" name="Rectangle 4">
                  <a:extLst>
                    <a:ext uri="{FF2B5EF4-FFF2-40B4-BE49-F238E27FC236}">
                      <a16:creationId xmlns:a16="http://schemas.microsoft.com/office/drawing/2014/main" id="{85C11382-5230-4AAE-B06B-23326E889354}"/>
                    </a:ext>
                  </a:extLst>
                </p:cNvPr>
                <p:cNvSpPr/>
                <p:nvPr/>
              </p:nvSpPr>
              <p:spPr>
                <a:xfrm>
                  <a:off x="10503342" y="1638765"/>
                  <a:ext cx="184995" cy="798281"/>
                </a:xfrm>
                <a:custGeom>
                  <a:avLst/>
                  <a:gdLst>
                    <a:gd name="connsiteX0" fmla="*/ 0 w 222339"/>
                    <a:gd name="connsiteY0" fmla="*/ 0 h 995363"/>
                    <a:gd name="connsiteX1" fmla="*/ 222339 w 222339"/>
                    <a:gd name="connsiteY1" fmla="*/ 0 h 995363"/>
                    <a:gd name="connsiteX2" fmla="*/ 222339 w 222339"/>
                    <a:gd name="connsiteY2" fmla="*/ 995363 h 995363"/>
                    <a:gd name="connsiteX3" fmla="*/ 0 w 222339"/>
                    <a:gd name="connsiteY3" fmla="*/ 995363 h 995363"/>
                    <a:gd name="connsiteX4" fmla="*/ 0 w 222339"/>
                    <a:gd name="connsiteY4" fmla="*/ 0 h 995363"/>
                    <a:gd name="connsiteX0" fmla="*/ 2381 w 224720"/>
                    <a:gd name="connsiteY0" fmla="*/ 0 h 995363"/>
                    <a:gd name="connsiteX1" fmla="*/ 224720 w 224720"/>
                    <a:gd name="connsiteY1" fmla="*/ 0 h 995363"/>
                    <a:gd name="connsiteX2" fmla="*/ 224720 w 224720"/>
                    <a:gd name="connsiteY2" fmla="*/ 995363 h 995363"/>
                    <a:gd name="connsiteX3" fmla="*/ 0 w 224720"/>
                    <a:gd name="connsiteY3" fmla="*/ 928688 h 995363"/>
                    <a:gd name="connsiteX4" fmla="*/ 2381 w 224720"/>
                    <a:gd name="connsiteY4" fmla="*/ 0 h 995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24720" h="995363">
                      <a:moveTo>
                        <a:pt x="2381" y="0"/>
                      </a:moveTo>
                      <a:lnTo>
                        <a:pt x="224720" y="0"/>
                      </a:lnTo>
                      <a:lnTo>
                        <a:pt x="224720" y="995363"/>
                      </a:lnTo>
                      <a:lnTo>
                        <a:pt x="0" y="928688"/>
                      </a:lnTo>
                      <a:cubicBezTo>
                        <a:pt x="794" y="619125"/>
                        <a:pt x="1587" y="309563"/>
                        <a:pt x="2381" y="0"/>
                      </a:cubicBez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0" name="Freeform 101">
                  <a:extLst>
                    <a:ext uri="{FF2B5EF4-FFF2-40B4-BE49-F238E27FC236}">
                      <a16:creationId xmlns:a16="http://schemas.microsoft.com/office/drawing/2014/main" id="{86A69020-761B-44F8-8ABE-535B7E9F6B90}"/>
                    </a:ext>
                  </a:extLst>
                </p:cNvPr>
                <p:cNvSpPr/>
                <p:nvPr/>
              </p:nvSpPr>
              <p:spPr>
                <a:xfrm>
                  <a:off x="9466828" y="625151"/>
                  <a:ext cx="1395933" cy="1750152"/>
                </a:xfrm>
                <a:custGeom>
                  <a:avLst/>
                  <a:gdLst>
                    <a:gd name="connsiteX0" fmla="*/ 707634 w 1243818"/>
                    <a:gd name="connsiteY0" fmla="*/ 0 h 2063749"/>
                    <a:gd name="connsiteX1" fmla="*/ 1243818 w 1243818"/>
                    <a:gd name="connsiteY1" fmla="*/ 1308100 h 2063749"/>
                    <a:gd name="connsiteX2" fmla="*/ 962831 w 1243818"/>
                    <a:gd name="connsiteY2" fmla="*/ 1240678 h 2063749"/>
                    <a:gd name="connsiteX3" fmla="*/ 962831 w 1243818"/>
                    <a:gd name="connsiteY3" fmla="*/ 2063749 h 2063749"/>
                    <a:gd name="connsiteX4" fmla="*/ 283381 w 1243818"/>
                    <a:gd name="connsiteY4" fmla="*/ 1924049 h 2063749"/>
                    <a:gd name="connsiteX5" fmla="*/ 277825 w 1243818"/>
                    <a:gd name="connsiteY5" fmla="*/ 1155551 h 2063749"/>
                    <a:gd name="connsiteX6" fmla="*/ 277102 w 1243818"/>
                    <a:gd name="connsiteY6" fmla="*/ 1076140 h 2063749"/>
                    <a:gd name="connsiteX7" fmla="*/ 0 w 1243818"/>
                    <a:gd name="connsiteY7" fmla="*/ 1009650 h 2063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43818" h="2063749">
                      <a:moveTo>
                        <a:pt x="707634" y="0"/>
                      </a:moveTo>
                      <a:lnTo>
                        <a:pt x="1243818" y="1308100"/>
                      </a:lnTo>
                      <a:lnTo>
                        <a:pt x="962831" y="1240678"/>
                      </a:lnTo>
                      <a:lnTo>
                        <a:pt x="962831" y="2063749"/>
                      </a:lnTo>
                      <a:lnTo>
                        <a:pt x="283381" y="1924049"/>
                      </a:lnTo>
                      <a:cubicBezTo>
                        <a:pt x="281529" y="1744861"/>
                        <a:pt x="279677" y="1380926"/>
                        <a:pt x="277825" y="1155551"/>
                      </a:cubicBezTo>
                      <a:lnTo>
                        <a:pt x="277102" y="1076140"/>
                      </a:lnTo>
                      <a:lnTo>
                        <a:pt x="0" y="100965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</p:txBody>
            </p:sp>
            <p:sp>
              <p:nvSpPr>
                <p:cNvPr id="171" name="Rectangle 3">
                  <a:extLst>
                    <a:ext uri="{FF2B5EF4-FFF2-40B4-BE49-F238E27FC236}">
                      <a16:creationId xmlns:a16="http://schemas.microsoft.com/office/drawing/2014/main" id="{AE1F89A2-B3D6-41C4-A597-107CE9DBED3A}"/>
                    </a:ext>
                  </a:extLst>
                </p:cNvPr>
                <p:cNvSpPr/>
                <p:nvPr/>
              </p:nvSpPr>
              <p:spPr>
                <a:xfrm rot="20341555">
                  <a:off x="10477179" y="552350"/>
                  <a:ext cx="169716" cy="1264406"/>
                </a:xfrm>
                <a:custGeom>
                  <a:avLst/>
                  <a:gdLst>
                    <a:gd name="connsiteX0" fmla="*/ 0 w 277019"/>
                    <a:gd name="connsiteY0" fmla="*/ 0 h 1412345"/>
                    <a:gd name="connsiteX1" fmla="*/ 277019 w 277019"/>
                    <a:gd name="connsiteY1" fmla="*/ 0 h 1412345"/>
                    <a:gd name="connsiteX2" fmla="*/ 277019 w 277019"/>
                    <a:gd name="connsiteY2" fmla="*/ 1412345 h 1412345"/>
                    <a:gd name="connsiteX3" fmla="*/ 0 w 277019"/>
                    <a:gd name="connsiteY3" fmla="*/ 1412345 h 1412345"/>
                    <a:gd name="connsiteX4" fmla="*/ 0 w 277019"/>
                    <a:gd name="connsiteY4" fmla="*/ 0 h 1412345"/>
                    <a:gd name="connsiteX0" fmla="*/ 0 w 277019"/>
                    <a:gd name="connsiteY0" fmla="*/ 0 h 1440288"/>
                    <a:gd name="connsiteX1" fmla="*/ 277019 w 277019"/>
                    <a:gd name="connsiteY1" fmla="*/ 0 h 1440288"/>
                    <a:gd name="connsiteX2" fmla="*/ 277019 w 277019"/>
                    <a:gd name="connsiteY2" fmla="*/ 1412345 h 1440288"/>
                    <a:gd name="connsiteX3" fmla="*/ 86198 w 277019"/>
                    <a:gd name="connsiteY3" fmla="*/ 1440288 h 1440288"/>
                    <a:gd name="connsiteX4" fmla="*/ 0 w 277019"/>
                    <a:gd name="connsiteY4" fmla="*/ 0 h 1440288"/>
                    <a:gd name="connsiteX0" fmla="*/ 0 w 277019"/>
                    <a:gd name="connsiteY0" fmla="*/ 0 h 1412642"/>
                    <a:gd name="connsiteX1" fmla="*/ 277019 w 277019"/>
                    <a:gd name="connsiteY1" fmla="*/ 0 h 1412642"/>
                    <a:gd name="connsiteX2" fmla="*/ 277019 w 277019"/>
                    <a:gd name="connsiteY2" fmla="*/ 1412345 h 1412642"/>
                    <a:gd name="connsiteX3" fmla="*/ 40690 w 277019"/>
                    <a:gd name="connsiteY3" fmla="*/ 1412642 h 1412642"/>
                    <a:gd name="connsiteX4" fmla="*/ 0 w 277019"/>
                    <a:gd name="connsiteY4" fmla="*/ 0 h 1412642"/>
                    <a:gd name="connsiteX0" fmla="*/ 0 w 277019"/>
                    <a:gd name="connsiteY0" fmla="*/ 0 h 1412642"/>
                    <a:gd name="connsiteX1" fmla="*/ 244926 w 277019"/>
                    <a:gd name="connsiteY1" fmla="*/ 43802 h 1412642"/>
                    <a:gd name="connsiteX2" fmla="*/ 277019 w 277019"/>
                    <a:gd name="connsiteY2" fmla="*/ 1412345 h 1412642"/>
                    <a:gd name="connsiteX3" fmla="*/ 40690 w 277019"/>
                    <a:gd name="connsiteY3" fmla="*/ 1412642 h 1412642"/>
                    <a:gd name="connsiteX4" fmla="*/ 0 w 277019"/>
                    <a:gd name="connsiteY4" fmla="*/ 0 h 1412642"/>
                    <a:gd name="connsiteX0" fmla="*/ 0 w 277019"/>
                    <a:gd name="connsiteY0" fmla="*/ 0 h 1412642"/>
                    <a:gd name="connsiteX1" fmla="*/ 205570 w 277019"/>
                    <a:gd name="connsiteY1" fmla="*/ 13415 h 1412642"/>
                    <a:gd name="connsiteX2" fmla="*/ 277019 w 277019"/>
                    <a:gd name="connsiteY2" fmla="*/ 1412345 h 1412642"/>
                    <a:gd name="connsiteX3" fmla="*/ 40690 w 277019"/>
                    <a:gd name="connsiteY3" fmla="*/ 1412642 h 1412642"/>
                    <a:gd name="connsiteX4" fmla="*/ 0 w 277019"/>
                    <a:gd name="connsiteY4" fmla="*/ 0 h 1412642"/>
                    <a:gd name="connsiteX0" fmla="*/ 0 w 205570"/>
                    <a:gd name="connsiteY0" fmla="*/ 0 h 1412642"/>
                    <a:gd name="connsiteX1" fmla="*/ 205570 w 205570"/>
                    <a:gd name="connsiteY1" fmla="*/ 13415 h 1412642"/>
                    <a:gd name="connsiteX2" fmla="*/ 205498 w 205570"/>
                    <a:gd name="connsiteY2" fmla="*/ 1359424 h 1412642"/>
                    <a:gd name="connsiteX3" fmla="*/ 40690 w 205570"/>
                    <a:gd name="connsiteY3" fmla="*/ 1412642 h 1412642"/>
                    <a:gd name="connsiteX4" fmla="*/ 0 w 205570"/>
                    <a:gd name="connsiteY4" fmla="*/ 0 h 1412642"/>
                    <a:gd name="connsiteX0" fmla="*/ 0 w 273610"/>
                    <a:gd name="connsiteY0" fmla="*/ 0 h 1421238"/>
                    <a:gd name="connsiteX1" fmla="*/ 205570 w 273610"/>
                    <a:gd name="connsiteY1" fmla="*/ 13415 h 1421238"/>
                    <a:gd name="connsiteX2" fmla="*/ 273610 w 273610"/>
                    <a:gd name="connsiteY2" fmla="*/ 1421238 h 1421238"/>
                    <a:gd name="connsiteX3" fmla="*/ 40690 w 273610"/>
                    <a:gd name="connsiteY3" fmla="*/ 1412642 h 1421238"/>
                    <a:gd name="connsiteX4" fmla="*/ 0 w 273610"/>
                    <a:gd name="connsiteY4" fmla="*/ 0 h 1421238"/>
                    <a:gd name="connsiteX0" fmla="*/ 0 w 282504"/>
                    <a:gd name="connsiteY0" fmla="*/ 0 h 1424647"/>
                    <a:gd name="connsiteX1" fmla="*/ 214464 w 282504"/>
                    <a:gd name="connsiteY1" fmla="*/ 16824 h 1424647"/>
                    <a:gd name="connsiteX2" fmla="*/ 282504 w 282504"/>
                    <a:gd name="connsiteY2" fmla="*/ 1424647 h 1424647"/>
                    <a:gd name="connsiteX3" fmla="*/ 49584 w 282504"/>
                    <a:gd name="connsiteY3" fmla="*/ 1416051 h 1424647"/>
                    <a:gd name="connsiteX4" fmla="*/ 0 w 282504"/>
                    <a:gd name="connsiteY4" fmla="*/ 0 h 1424647"/>
                    <a:gd name="connsiteX0" fmla="*/ 0 w 282504"/>
                    <a:gd name="connsiteY0" fmla="*/ 0 h 1426316"/>
                    <a:gd name="connsiteX1" fmla="*/ 214464 w 282504"/>
                    <a:gd name="connsiteY1" fmla="*/ 16824 h 1426316"/>
                    <a:gd name="connsiteX2" fmla="*/ 282504 w 282504"/>
                    <a:gd name="connsiteY2" fmla="*/ 1424647 h 1426316"/>
                    <a:gd name="connsiteX3" fmla="*/ 43098 w 282504"/>
                    <a:gd name="connsiteY3" fmla="*/ 1426316 h 1426316"/>
                    <a:gd name="connsiteX4" fmla="*/ 0 w 282504"/>
                    <a:gd name="connsiteY4" fmla="*/ 0 h 1426316"/>
                    <a:gd name="connsiteX0" fmla="*/ 0 w 266940"/>
                    <a:gd name="connsiteY0" fmla="*/ 0 h 1420276"/>
                    <a:gd name="connsiteX1" fmla="*/ 198900 w 266940"/>
                    <a:gd name="connsiteY1" fmla="*/ 10784 h 1420276"/>
                    <a:gd name="connsiteX2" fmla="*/ 266940 w 266940"/>
                    <a:gd name="connsiteY2" fmla="*/ 1418607 h 1420276"/>
                    <a:gd name="connsiteX3" fmla="*/ 27534 w 266940"/>
                    <a:gd name="connsiteY3" fmla="*/ 1420276 h 1420276"/>
                    <a:gd name="connsiteX4" fmla="*/ 0 w 266940"/>
                    <a:gd name="connsiteY4" fmla="*/ 0 h 1420276"/>
                    <a:gd name="connsiteX0" fmla="*/ 0 w 266940"/>
                    <a:gd name="connsiteY0" fmla="*/ 0 h 1418607"/>
                    <a:gd name="connsiteX1" fmla="*/ 198900 w 266940"/>
                    <a:gd name="connsiteY1" fmla="*/ 10784 h 1418607"/>
                    <a:gd name="connsiteX2" fmla="*/ 266940 w 266940"/>
                    <a:gd name="connsiteY2" fmla="*/ 1418607 h 1418607"/>
                    <a:gd name="connsiteX3" fmla="*/ 26002 w 266940"/>
                    <a:gd name="connsiteY3" fmla="*/ 1273684 h 1418607"/>
                    <a:gd name="connsiteX4" fmla="*/ 0 w 266940"/>
                    <a:gd name="connsiteY4" fmla="*/ 0 h 1418607"/>
                    <a:gd name="connsiteX0" fmla="*/ 0 w 381047"/>
                    <a:gd name="connsiteY0" fmla="*/ 0 h 1273685"/>
                    <a:gd name="connsiteX1" fmla="*/ 198900 w 381047"/>
                    <a:gd name="connsiteY1" fmla="*/ 10784 h 1273685"/>
                    <a:gd name="connsiteX2" fmla="*/ 381048 w 381047"/>
                    <a:gd name="connsiteY2" fmla="*/ 1072495 h 1273685"/>
                    <a:gd name="connsiteX3" fmla="*/ 26002 w 381047"/>
                    <a:gd name="connsiteY3" fmla="*/ 1273684 h 1273685"/>
                    <a:gd name="connsiteX4" fmla="*/ 0 w 381047"/>
                    <a:gd name="connsiteY4" fmla="*/ 0 h 1273685"/>
                    <a:gd name="connsiteX0" fmla="*/ 0 w 284956"/>
                    <a:gd name="connsiteY0" fmla="*/ 0 h 1404102"/>
                    <a:gd name="connsiteX1" fmla="*/ 198900 w 284956"/>
                    <a:gd name="connsiteY1" fmla="*/ 10784 h 1404102"/>
                    <a:gd name="connsiteX2" fmla="*/ 284956 w 284956"/>
                    <a:gd name="connsiteY2" fmla="*/ 1404102 h 1404102"/>
                    <a:gd name="connsiteX3" fmla="*/ 26002 w 284956"/>
                    <a:gd name="connsiteY3" fmla="*/ 1273684 h 1404102"/>
                    <a:gd name="connsiteX4" fmla="*/ 0 w 284956"/>
                    <a:gd name="connsiteY4" fmla="*/ 0 h 1404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4956" h="1404102">
                      <a:moveTo>
                        <a:pt x="0" y="0"/>
                      </a:moveTo>
                      <a:lnTo>
                        <a:pt x="198900" y="10784"/>
                      </a:lnTo>
                      <a:cubicBezTo>
                        <a:pt x="198876" y="459454"/>
                        <a:pt x="284980" y="955432"/>
                        <a:pt x="284956" y="1404102"/>
                      </a:cubicBezTo>
                      <a:lnTo>
                        <a:pt x="26002" y="127368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2" name="Rectangle 5">
                  <a:extLst>
                    <a:ext uri="{FF2B5EF4-FFF2-40B4-BE49-F238E27FC236}">
                      <a16:creationId xmlns:a16="http://schemas.microsoft.com/office/drawing/2014/main" id="{814E4268-6FB7-46F9-9B41-93F32EEB2992}"/>
                    </a:ext>
                  </a:extLst>
                </p:cNvPr>
                <p:cNvSpPr/>
                <p:nvPr/>
              </p:nvSpPr>
              <p:spPr>
                <a:xfrm rot="1419498">
                  <a:off x="9313406" y="2092850"/>
                  <a:ext cx="1190458" cy="569239"/>
                </a:xfrm>
                <a:custGeom>
                  <a:avLst/>
                  <a:gdLst>
                    <a:gd name="connsiteX0" fmla="*/ 0 w 504486"/>
                    <a:gd name="connsiteY0" fmla="*/ 0 h 388303"/>
                    <a:gd name="connsiteX1" fmla="*/ 504486 w 504486"/>
                    <a:gd name="connsiteY1" fmla="*/ 0 h 388303"/>
                    <a:gd name="connsiteX2" fmla="*/ 504486 w 504486"/>
                    <a:gd name="connsiteY2" fmla="*/ 388303 h 388303"/>
                    <a:gd name="connsiteX3" fmla="*/ 0 w 504486"/>
                    <a:gd name="connsiteY3" fmla="*/ 388303 h 388303"/>
                    <a:gd name="connsiteX4" fmla="*/ 0 w 504486"/>
                    <a:gd name="connsiteY4" fmla="*/ 0 h 388303"/>
                    <a:gd name="connsiteX0" fmla="*/ 0 w 680304"/>
                    <a:gd name="connsiteY0" fmla="*/ 144620 h 532923"/>
                    <a:gd name="connsiteX1" fmla="*/ 680304 w 680304"/>
                    <a:gd name="connsiteY1" fmla="*/ 0 h 532923"/>
                    <a:gd name="connsiteX2" fmla="*/ 504486 w 680304"/>
                    <a:gd name="connsiteY2" fmla="*/ 532923 h 532923"/>
                    <a:gd name="connsiteX3" fmla="*/ 0 w 680304"/>
                    <a:gd name="connsiteY3" fmla="*/ 532923 h 532923"/>
                    <a:gd name="connsiteX4" fmla="*/ 0 w 680304"/>
                    <a:gd name="connsiteY4" fmla="*/ 144620 h 532923"/>
                    <a:gd name="connsiteX0" fmla="*/ 380430 w 1060734"/>
                    <a:gd name="connsiteY0" fmla="*/ 144620 h 532923"/>
                    <a:gd name="connsiteX1" fmla="*/ 1060734 w 1060734"/>
                    <a:gd name="connsiteY1" fmla="*/ 0 h 532923"/>
                    <a:gd name="connsiteX2" fmla="*/ 884916 w 1060734"/>
                    <a:gd name="connsiteY2" fmla="*/ 532923 h 532923"/>
                    <a:gd name="connsiteX3" fmla="*/ 0 w 1060734"/>
                    <a:gd name="connsiteY3" fmla="*/ 507209 h 532923"/>
                    <a:gd name="connsiteX4" fmla="*/ 380430 w 1060734"/>
                    <a:gd name="connsiteY4" fmla="*/ 144620 h 532923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21415 w 1060734"/>
                    <a:gd name="connsiteY2" fmla="*/ 388388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0734" h="507209">
                      <a:moveTo>
                        <a:pt x="380430" y="144620"/>
                      </a:moveTo>
                      <a:lnTo>
                        <a:pt x="1060734" y="0"/>
                      </a:lnTo>
                      <a:lnTo>
                        <a:pt x="677584" y="374179"/>
                      </a:lnTo>
                      <a:lnTo>
                        <a:pt x="0" y="507209"/>
                      </a:lnTo>
                      <a:lnTo>
                        <a:pt x="380430" y="144620"/>
                      </a:lnTo>
                      <a:close/>
                    </a:path>
                  </a:pathLst>
                </a:custGeom>
                <a:solidFill>
                  <a:schemeClr val="accent3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3" name="Rectangle 9">
                  <a:extLst>
                    <a:ext uri="{FF2B5EF4-FFF2-40B4-BE49-F238E27FC236}">
                      <a16:creationId xmlns:a16="http://schemas.microsoft.com/office/drawing/2014/main" id="{927A32E2-4244-4EE3-9078-F94A20ACB383}"/>
                    </a:ext>
                  </a:extLst>
                </p:cNvPr>
                <p:cNvSpPr/>
                <p:nvPr/>
              </p:nvSpPr>
              <p:spPr>
                <a:xfrm>
                  <a:off x="9244405" y="2397662"/>
                  <a:ext cx="767909" cy="1139294"/>
                </a:xfrm>
                <a:custGeom>
                  <a:avLst/>
                  <a:gdLst>
                    <a:gd name="connsiteX0" fmla="*/ 0 w 681901"/>
                    <a:gd name="connsiteY0" fmla="*/ 0 h 850839"/>
                    <a:gd name="connsiteX1" fmla="*/ 681901 w 681901"/>
                    <a:gd name="connsiteY1" fmla="*/ 0 h 850839"/>
                    <a:gd name="connsiteX2" fmla="*/ 681901 w 681901"/>
                    <a:gd name="connsiteY2" fmla="*/ 850839 h 850839"/>
                    <a:gd name="connsiteX3" fmla="*/ 0 w 681901"/>
                    <a:gd name="connsiteY3" fmla="*/ 850839 h 850839"/>
                    <a:gd name="connsiteX4" fmla="*/ 0 w 681901"/>
                    <a:gd name="connsiteY4" fmla="*/ 0 h 850839"/>
                    <a:gd name="connsiteX0" fmla="*/ 0 w 691426"/>
                    <a:gd name="connsiteY0" fmla="*/ 0 h 850839"/>
                    <a:gd name="connsiteX1" fmla="*/ 691426 w 691426"/>
                    <a:gd name="connsiteY1" fmla="*/ 138113 h 850839"/>
                    <a:gd name="connsiteX2" fmla="*/ 681901 w 691426"/>
                    <a:gd name="connsiteY2" fmla="*/ 850839 h 850839"/>
                    <a:gd name="connsiteX3" fmla="*/ 0 w 691426"/>
                    <a:gd name="connsiteY3" fmla="*/ 850839 h 850839"/>
                    <a:gd name="connsiteX4" fmla="*/ 0 w 691426"/>
                    <a:gd name="connsiteY4" fmla="*/ 0 h 850839"/>
                    <a:gd name="connsiteX0" fmla="*/ 0 w 691426"/>
                    <a:gd name="connsiteY0" fmla="*/ 0 h 1003239"/>
                    <a:gd name="connsiteX1" fmla="*/ 691426 w 691426"/>
                    <a:gd name="connsiteY1" fmla="*/ 138113 h 1003239"/>
                    <a:gd name="connsiteX2" fmla="*/ 691426 w 691426"/>
                    <a:gd name="connsiteY2" fmla="*/ 1003239 h 1003239"/>
                    <a:gd name="connsiteX3" fmla="*/ 0 w 691426"/>
                    <a:gd name="connsiteY3" fmla="*/ 850839 h 1003239"/>
                    <a:gd name="connsiteX4" fmla="*/ 0 w 691426"/>
                    <a:gd name="connsiteY4" fmla="*/ 0 h 1003239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1426" h="1015145">
                      <a:moveTo>
                        <a:pt x="0" y="0"/>
                      </a:moveTo>
                      <a:lnTo>
                        <a:pt x="691426" y="150019"/>
                      </a:lnTo>
                      <a:lnTo>
                        <a:pt x="691426" y="1015145"/>
                      </a:lnTo>
                      <a:lnTo>
                        <a:pt x="0" y="8627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4" name="Rectangle 5">
                  <a:extLst>
                    <a:ext uri="{FF2B5EF4-FFF2-40B4-BE49-F238E27FC236}">
                      <a16:creationId xmlns:a16="http://schemas.microsoft.com/office/drawing/2014/main" id="{ADDEFB3D-578F-403A-A7B7-4BF552ADDB51}"/>
                    </a:ext>
                  </a:extLst>
                </p:cNvPr>
                <p:cNvSpPr/>
                <p:nvPr/>
              </p:nvSpPr>
              <p:spPr>
                <a:xfrm rot="1419498">
                  <a:off x="8764761" y="3270536"/>
                  <a:ext cx="1190458" cy="569239"/>
                </a:xfrm>
                <a:custGeom>
                  <a:avLst/>
                  <a:gdLst>
                    <a:gd name="connsiteX0" fmla="*/ 0 w 504486"/>
                    <a:gd name="connsiteY0" fmla="*/ 0 h 388303"/>
                    <a:gd name="connsiteX1" fmla="*/ 504486 w 504486"/>
                    <a:gd name="connsiteY1" fmla="*/ 0 h 388303"/>
                    <a:gd name="connsiteX2" fmla="*/ 504486 w 504486"/>
                    <a:gd name="connsiteY2" fmla="*/ 388303 h 388303"/>
                    <a:gd name="connsiteX3" fmla="*/ 0 w 504486"/>
                    <a:gd name="connsiteY3" fmla="*/ 388303 h 388303"/>
                    <a:gd name="connsiteX4" fmla="*/ 0 w 504486"/>
                    <a:gd name="connsiteY4" fmla="*/ 0 h 388303"/>
                    <a:gd name="connsiteX0" fmla="*/ 0 w 680304"/>
                    <a:gd name="connsiteY0" fmla="*/ 144620 h 532923"/>
                    <a:gd name="connsiteX1" fmla="*/ 680304 w 680304"/>
                    <a:gd name="connsiteY1" fmla="*/ 0 h 532923"/>
                    <a:gd name="connsiteX2" fmla="*/ 504486 w 680304"/>
                    <a:gd name="connsiteY2" fmla="*/ 532923 h 532923"/>
                    <a:gd name="connsiteX3" fmla="*/ 0 w 680304"/>
                    <a:gd name="connsiteY3" fmla="*/ 532923 h 532923"/>
                    <a:gd name="connsiteX4" fmla="*/ 0 w 680304"/>
                    <a:gd name="connsiteY4" fmla="*/ 144620 h 532923"/>
                    <a:gd name="connsiteX0" fmla="*/ 380430 w 1060734"/>
                    <a:gd name="connsiteY0" fmla="*/ 144620 h 532923"/>
                    <a:gd name="connsiteX1" fmla="*/ 1060734 w 1060734"/>
                    <a:gd name="connsiteY1" fmla="*/ 0 h 532923"/>
                    <a:gd name="connsiteX2" fmla="*/ 884916 w 1060734"/>
                    <a:gd name="connsiteY2" fmla="*/ 532923 h 532923"/>
                    <a:gd name="connsiteX3" fmla="*/ 0 w 1060734"/>
                    <a:gd name="connsiteY3" fmla="*/ 507209 h 532923"/>
                    <a:gd name="connsiteX4" fmla="*/ 380430 w 1060734"/>
                    <a:gd name="connsiteY4" fmla="*/ 144620 h 532923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21415 w 1060734"/>
                    <a:gd name="connsiteY2" fmla="*/ 388388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80430 w 1060734"/>
                    <a:gd name="connsiteY0" fmla="*/ 144620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80430 w 1060734"/>
                    <a:gd name="connsiteY4" fmla="*/ 144620 h 507209"/>
                    <a:gd name="connsiteX0" fmla="*/ 373202 w 1060734"/>
                    <a:gd name="connsiteY0" fmla="*/ 139988 h 507209"/>
                    <a:gd name="connsiteX1" fmla="*/ 1060734 w 1060734"/>
                    <a:gd name="connsiteY1" fmla="*/ 0 h 507209"/>
                    <a:gd name="connsiteX2" fmla="*/ 677584 w 1060734"/>
                    <a:gd name="connsiteY2" fmla="*/ 374179 h 507209"/>
                    <a:gd name="connsiteX3" fmla="*/ 0 w 1060734"/>
                    <a:gd name="connsiteY3" fmla="*/ 507209 h 507209"/>
                    <a:gd name="connsiteX4" fmla="*/ 373202 w 1060734"/>
                    <a:gd name="connsiteY4" fmla="*/ 139988 h 5072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0734" h="507209">
                      <a:moveTo>
                        <a:pt x="373202" y="139988"/>
                      </a:moveTo>
                      <a:lnTo>
                        <a:pt x="1060734" y="0"/>
                      </a:lnTo>
                      <a:lnTo>
                        <a:pt x="677584" y="374179"/>
                      </a:lnTo>
                      <a:lnTo>
                        <a:pt x="0" y="507209"/>
                      </a:lnTo>
                      <a:lnTo>
                        <a:pt x="373202" y="139988"/>
                      </a:lnTo>
                      <a:close/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5" name="Rectangle 9">
                  <a:extLst>
                    <a:ext uri="{FF2B5EF4-FFF2-40B4-BE49-F238E27FC236}">
                      <a16:creationId xmlns:a16="http://schemas.microsoft.com/office/drawing/2014/main" id="{B54A5F5F-AB6C-4D39-8D43-F18035D55976}"/>
                    </a:ext>
                  </a:extLst>
                </p:cNvPr>
                <p:cNvSpPr/>
                <p:nvPr/>
              </p:nvSpPr>
              <p:spPr>
                <a:xfrm>
                  <a:off x="8700574" y="3573355"/>
                  <a:ext cx="767909" cy="1139294"/>
                </a:xfrm>
                <a:custGeom>
                  <a:avLst/>
                  <a:gdLst>
                    <a:gd name="connsiteX0" fmla="*/ 0 w 681901"/>
                    <a:gd name="connsiteY0" fmla="*/ 0 h 850839"/>
                    <a:gd name="connsiteX1" fmla="*/ 681901 w 681901"/>
                    <a:gd name="connsiteY1" fmla="*/ 0 h 850839"/>
                    <a:gd name="connsiteX2" fmla="*/ 681901 w 681901"/>
                    <a:gd name="connsiteY2" fmla="*/ 850839 h 850839"/>
                    <a:gd name="connsiteX3" fmla="*/ 0 w 681901"/>
                    <a:gd name="connsiteY3" fmla="*/ 850839 h 850839"/>
                    <a:gd name="connsiteX4" fmla="*/ 0 w 681901"/>
                    <a:gd name="connsiteY4" fmla="*/ 0 h 850839"/>
                    <a:gd name="connsiteX0" fmla="*/ 0 w 691426"/>
                    <a:gd name="connsiteY0" fmla="*/ 0 h 850839"/>
                    <a:gd name="connsiteX1" fmla="*/ 691426 w 691426"/>
                    <a:gd name="connsiteY1" fmla="*/ 138113 h 850839"/>
                    <a:gd name="connsiteX2" fmla="*/ 681901 w 691426"/>
                    <a:gd name="connsiteY2" fmla="*/ 850839 h 850839"/>
                    <a:gd name="connsiteX3" fmla="*/ 0 w 691426"/>
                    <a:gd name="connsiteY3" fmla="*/ 850839 h 850839"/>
                    <a:gd name="connsiteX4" fmla="*/ 0 w 691426"/>
                    <a:gd name="connsiteY4" fmla="*/ 0 h 850839"/>
                    <a:gd name="connsiteX0" fmla="*/ 0 w 691426"/>
                    <a:gd name="connsiteY0" fmla="*/ 0 h 1003239"/>
                    <a:gd name="connsiteX1" fmla="*/ 691426 w 691426"/>
                    <a:gd name="connsiteY1" fmla="*/ 138113 h 1003239"/>
                    <a:gd name="connsiteX2" fmla="*/ 691426 w 691426"/>
                    <a:gd name="connsiteY2" fmla="*/ 1003239 h 1003239"/>
                    <a:gd name="connsiteX3" fmla="*/ 0 w 691426"/>
                    <a:gd name="connsiteY3" fmla="*/ 850839 h 1003239"/>
                    <a:gd name="connsiteX4" fmla="*/ 0 w 691426"/>
                    <a:gd name="connsiteY4" fmla="*/ 0 h 1003239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1426" h="1015145">
                      <a:moveTo>
                        <a:pt x="0" y="0"/>
                      </a:moveTo>
                      <a:lnTo>
                        <a:pt x="691426" y="150019"/>
                      </a:lnTo>
                      <a:lnTo>
                        <a:pt x="691426" y="1015145"/>
                      </a:lnTo>
                      <a:lnTo>
                        <a:pt x="0" y="8627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6" name="Rectangle 14">
                  <a:extLst>
                    <a:ext uri="{FF2B5EF4-FFF2-40B4-BE49-F238E27FC236}">
                      <a16:creationId xmlns:a16="http://schemas.microsoft.com/office/drawing/2014/main" id="{6543F418-AB22-4B0F-AFED-9176AD1499B0}"/>
                    </a:ext>
                  </a:extLst>
                </p:cNvPr>
                <p:cNvSpPr/>
                <p:nvPr/>
              </p:nvSpPr>
              <p:spPr>
                <a:xfrm>
                  <a:off x="8914061" y="4177879"/>
                  <a:ext cx="1775849" cy="1709504"/>
                </a:xfrm>
                <a:custGeom>
                  <a:avLst/>
                  <a:gdLst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0 h 951736"/>
                    <a:gd name="connsiteX1" fmla="*/ 623906 w 623906"/>
                    <a:gd name="connsiteY1" fmla="*/ 0 h 951736"/>
                    <a:gd name="connsiteX2" fmla="*/ 623906 w 623906"/>
                    <a:gd name="connsiteY2" fmla="*/ 951736 h 951736"/>
                    <a:gd name="connsiteX3" fmla="*/ 0 w 623906"/>
                    <a:gd name="connsiteY3" fmla="*/ 951736 h 951736"/>
                    <a:gd name="connsiteX4" fmla="*/ 0 w 623906"/>
                    <a:gd name="connsiteY4" fmla="*/ 0 h 95173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195576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23906"/>
                    <a:gd name="connsiteY0" fmla="*/ 243840 h 1195576"/>
                    <a:gd name="connsiteX1" fmla="*/ 616286 w 623906"/>
                    <a:gd name="connsiteY1" fmla="*/ 0 h 1195576"/>
                    <a:gd name="connsiteX2" fmla="*/ 623906 w 623906"/>
                    <a:gd name="connsiteY2" fmla="*/ 1024798 h 1195576"/>
                    <a:gd name="connsiteX3" fmla="*/ 0 w 623906"/>
                    <a:gd name="connsiteY3" fmla="*/ 1195576 h 1195576"/>
                    <a:gd name="connsiteX4" fmla="*/ 0 w 623906"/>
                    <a:gd name="connsiteY4" fmla="*/ 243840 h 1195576"/>
                    <a:gd name="connsiteX0" fmla="*/ 0 w 616286"/>
                    <a:gd name="connsiteY0" fmla="*/ 243840 h 1195576"/>
                    <a:gd name="connsiteX1" fmla="*/ 616286 w 616286"/>
                    <a:gd name="connsiteY1" fmla="*/ 0 h 1195576"/>
                    <a:gd name="connsiteX2" fmla="*/ 616286 w 616286"/>
                    <a:gd name="connsiteY2" fmla="*/ 959740 h 1195576"/>
                    <a:gd name="connsiteX3" fmla="*/ 0 w 616286"/>
                    <a:gd name="connsiteY3" fmla="*/ 1195576 h 1195576"/>
                    <a:gd name="connsiteX4" fmla="*/ 0 w 616286"/>
                    <a:gd name="connsiteY4" fmla="*/ 243840 h 1195576"/>
                    <a:gd name="connsiteX0" fmla="*/ 0 w 616286"/>
                    <a:gd name="connsiteY0" fmla="*/ 396320 h 1348056"/>
                    <a:gd name="connsiteX1" fmla="*/ 608132 w 616286"/>
                    <a:gd name="connsiteY1" fmla="*/ 0 h 1348056"/>
                    <a:gd name="connsiteX2" fmla="*/ 616286 w 616286"/>
                    <a:gd name="connsiteY2" fmla="*/ 1112220 h 1348056"/>
                    <a:gd name="connsiteX3" fmla="*/ 0 w 616286"/>
                    <a:gd name="connsiteY3" fmla="*/ 1348056 h 1348056"/>
                    <a:gd name="connsiteX4" fmla="*/ 0 w 616286"/>
                    <a:gd name="connsiteY4" fmla="*/ 396320 h 1348056"/>
                    <a:gd name="connsiteX0" fmla="*/ 0 w 616286"/>
                    <a:gd name="connsiteY0" fmla="*/ 416651 h 1368387"/>
                    <a:gd name="connsiteX1" fmla="*/ 608132 w 616286"/>
                    <a:gd name="connsiteY1" fmla="*/ 0 h 1368387"/>
                    <a:gd name="connsiteX2" fmla="*/ 616286 w 616286"/>
                    <a:gd name="connsiteY2" fmla="*/ 1132551 h 1368387"/>
                    <a:gd name="connsiteX3" fmla="*/ 0 w 616286"/>
                    <a:gd name="connsiteY3" fmla="*/ 1368387 h 1368387"/>
                    <a:gd name="connsiteX4" fmla="*/ 0 w 616286"/>
                    <a:gd name="connsiteY4" fmla="*/ 416651 h 1368387"/>
                    <a:gd name="connsiteX0" fmla="*/ 0 w 610850"/>
                    <a:gd name="connsiteY0" fmla="*/ 416651 h 1368387"/>
                    <a:gd name="connsiteX1" fmla="*/ 608132 w 610850"/>
                    <a:gd name="connsiteY1" fmla="*/ 0 h 1368387"/>
                    <a:gd name="connsiteX2" fmla="*/ 610850 w 610850"/>
                    <a:gd name="connsiteY2" fmla="*/ 969905 h 1368387"/>
                    <a:gd name="connsiteX3" fmla="*/ 0 w 610850"/>
                    <a:gd name="connsiteY3" fmla="*/ 1368387 h 1368387"/>
                    <a:gd name="connsiteX4" fmla="*/ 0 w 610850"/>
                    <a:gd name="connsiteY4" fmla="*/ 416651 h 1368387"/>
                    <a:gd name="connsiteX0" fmla="*/ 0 w 610850"/>
                    <a:gd name="connsiteY0" fmla="*/ 414109 h 1365845"/>
                    <a:gd name="connsiteX1" fmla="*/ 609479 w 610850"/>
                    <a:gd name="connsiteY1" fmla="*/ 0 h 1365845"/>
                    <a:gd name="connsiteX2" fmla="*/ 610850 w 610850"/>
                    <a:gd name="connsiteY2" fmla="*/ 967363 h 1365845"/>
                    <a:gd name="connsiteX3" fmla="*/ 0 w 610850"/>
                    <a:gd name="connsiteY3" fmla="*/ 1365845 h 1365845"/>
                    <a:gd name="connsiteX4" fmla="*/ 0 w 610850"/>
                    <a:gd name="connsiteY4" fmla="*/ 414109 h 1365845"/>
                    <a:gd name="connsiteX0" fmla="*/ 0 w 609479"/>
                    <a:gd name="connsiteY0" fmla="*/ 414109 h 1365845"/>
                    <a:gd name="connsiteX1" fmla="*/ 609479 w 609479"/>
                    <a:gd name="connsiteY1" fmla="*/ 0 h 1365845"/>
                    <a:gd name="connsiteX2" fmla="*/ 608177 w 609479"/>
                    <a:gd name="connsiteY2" fmla="*/ 872595 h 1365845"/>
                    <a:gd name="connsiteX3" fmla="*/ 0 w 609479"/>
                    <a:gd name="connsiteY3" fmla="*/ 1365845 h 1365845"/>
                    <a:gd name="connsiteX4" fmla="*/ 0 w 609479"/>
                    <a:gd name="connsiteY4" fmla="*/ 414109 h 1365845"/>
                    <a:gd name="connsiteX0" fmla="*/ 0 w 608177"/>
                    <a:gd name="connsiteY0" fmla="*/ 713378 h 1665114"/>
                    <a:gd name="connsiteX1" fmla="*/ 607632 w 608177"/>
                    <a:gd name="connsiteY1" fmla="*/ 0 h 1665114"/>
                    <a:gd name="connsiteX2" fmla="*/ 608177 w 608177"/>
                    <a:gd name="connsiteY2" fmla="*/ 1171864 h 1665114"/>
                    <a:gd name="connsiteX3" fmla="*/ 0 w 608177"/>
                    <a:gd name="connsiteY3" fmla="*/ 1665114 h 1665114"/>
                    <a:gd name="connsiteX4" fmla="*/ 0 w 608177"/>
                    <a:gd name="connsiteY4" fmla="*/ 713378 h 1665114"/>
                    <a:gd name="connsiteX0" fmla="*/ 0 w 608177"/>
                    <a:gd name="connsiteY0" fmla="*/ 753281 h 1665114"/>
                    <a:gd name="connsiteX1" fmla="*/ 607632 w 608177"/>
                    <a:gd name="connsiteY1" fmla="*/ 0 h 1665114"/>
                    <a:gd name="connsiteX2" fmla="*/ 608177 w 608177"/>
                    <a:gd name="connsiteY2" fmla="*/ 1171864 h 1665114"/>
                    <a:gd name="connsiteX3" fmla="*/ 0 w 608177"/>
                    <a:gd name="connsiteY3" fmla="*/ 1665114 h 1665114"/>
                    <a:gd name="connsiteX4" fmla="*/ 0 w 608177"/>
                    <a:gd name="connsiteY4" fmla="*/ 753281 h 1665114"/>
                    <a:gd name="connsiteX0" fmla="*/ 0 w 608177"/>
                    <a:gd name="connsiteY0" fmla="*/ 658512 h 1570345"/>
                    <a:gd name="connsiteX1" fmla="*/ 607632 w 608177"/>
                    <a:gd name="connsiteY1" fmla="*/ 0 h 1570345"/>
                    <a:gd name="connsiteX2" fmla="*/ 608177 w 608177"/>
                    <a:gd name="connsiteY2" fmla="*/ 1077095 h 1570345"/>
                    <a:gd name="connsiteX3" fmla="*/ 0 w 608177"/>
                    <a:gd name="connsiteY3" fmla="*/ 1570345 h 1570345"/>
                    <a:gd name="connsiteX4" fmla="*/ 0 w 608177"/>
                    <a:gd name="connsiteY4" fmla="*/ 658512 h 1570345"/>
                    <a:gd name="connsiteX0" fmla="*/ 0 w 608177"/>
                    <a:gd name="connsiteY0" fmla="*/ 683452 h 1595285"/>
                    <a:gd name="connsiteX1" fmla="*/ 607632 w 608177"/>
                    <a:gd name="connsiteY1" fmla="*/ 0 h 1595285"/>
                    <a:gd name="connsiteX2" fmla="*/ 608177 w 608177"/>
                    <a:gd name="connsiteY2" fmla="*/ 1102035 h 1595285"/>
                    <a:gd name="connsiteX3" fmla="*/ 0 w 608177"/>
                    <a:gd name="connsiteY3" fmla="*/ 1595285 h 1595285"/>
                    <a:gd name="connsiteX4" fmla="*/ 0 w 608177"/>
                    <a:gd name="connsiteY4" fmla="*/ 683452 h 1595285"/>
                    <a:gd name="connsiteX0" fmla="*/ 1847 w 608177"/>
                    <a:gd name="connsiteY0" fmla="*/ 693428 h 1595285"/>
                    <a:gd name="connsiteX1" fmla="*/ 607632 w 608177"/>
                    <a:gd name="connsiteY1" fmla="*/ 0 h 1595285"/>
                    <a:gd name="connsiteX2" fmla="*/ 608177 w 608177"/>
                    <a:gd name="connsiteY2" fmla="*/ 1102035 h 1595285"/>
                    <a:gd name="connsiteX3" fmla="*/ 0 w 608177"/>
                    <a:gd name="connsiteY3" fmla="*/ 1595285 h 1595285"/>
                    <a:gd name="connsiteX4" fmla="*/ 1847 w 608177"/>
                    <a:gd name="connsiteY4" fmla="*/ 693428 h 1595285"/>
                    <a:gd name="connsiteX0" fmla="*/ 81 w 610105"/>
                    <a:gd name="connsiteY0" fmla="*/ 683453 h 1595285"/>
                    <a:gd name="connsiteX1" fmla="*/ 609560 w 610105"/>
                    <a:gd name="connsiteY1" fmla="*/ 0 h 1595285"/>
                    <a:gd name="connsiteX2" fmla="*/ 610105 w 610105"/>
                    <a:gd name="connsiteY2" fmla="*/ 1102035 h 1595285"/>
                    <a:gd name="connsiteX3" fmla="*/ 1928 w 610105"/>
                    <a:gd name="connsiteY3" fmla="*/ 1595285 h 1595285"/>
                    <a:gd name="connsiteX4" fmla="*/ 81 w 610105"/>
                    <a:gd name="connsiteY4" fmla="*/ 683453 h 1595285"/>
                    <a:gd name="connsiteX0" fmla="*/ 81 w 611952"/>
                    <a:gd name="connsiteY0" fmla="*/ 683453 h 1595285"/>
                    <a:gd name="connsiteX1" fmla="*/ 609560 w 611952"/>
                    <a:gd name="connsiteY1" fmla="*/ 0 h 1595285"/>
                    <a:gd name="connsiteX2" fmla="*/ 611952 w 611952"/>
                    <a:gd name="connsiteY2" fmla="*/ 847655 h 1595285"/>
                    <a:gd name="connsiteX3" fmla="*/ 1928 w 611952"/>
                    <a:gd name="connsiteY3" fmla="*/ 1595285 h 1595285"/>
                    <a:gd name="connsiteX4" fmla="*/ 81 w 611952"/>
                    <a:gd name="connsiteY4" fmla="*/ 683453 h 1595285"/>
                    <a:gd name="connsiteX0" fmla="*/ 1847 w 613718"/>
                    <a:gd name="connsiteY0" fmla="*/ 683453 h 1585309"/>
                    <a:gd name="connsiteX1" fmla="*/ 611326 w 613718"/>
                    <a:gd name="connsiteY1" fmla="*/ 0 h 1585309"/>
                    <a:gd name="connsiteX2" fmla="*/ 613718 w 613718"/>
                    <a:gd name="connsiteY2" fmla="*/ 847655 h 1585309"/>
                    <a:gd name="connsiteX3" fmla="*/ 0 w 613718"/>
                    <a:gd name="connsiteY3" fmla="*/ 1585309 h 1585309"/>
                    <a:gd name="connsiteX4" fmla="*/ 1847 w 613718"/>
                    <a:gd name="connsiteY4" fmla="*/ 683453 h 1585309"/>
                    <a:gd name="connsiteX0" fmla="*/ 1847 w 613718"/>
                    <a:gd name="connsiteY0" fmla="*/ 693429 h 1595285"/>
                    <a:gd name="connsiteX1" fmla="*/ 611326 w 613718"/>
                    <a:gd name="connsiteY1" fmla="*/ 0 h 1595285"/>
                    <a:gd name="connsiteX2" fmla="*/ 613718 w 613718"/>
                    <a:gd name="connsiteY2" fmla="*/ 857631 h 1595285"/>
                    <a:gd name="connsiteX3" fmla="*/ 0 w 613718"/>
                    <a:gd name="connsiteY3" fmla="*/ 1595285 h 1595285"/>
                    <a:gd name="connsiteX4" fmla="*/ 1847 w 613718"/>
                    <a:gd name="connsiteY4" fmla="*/ 693429 h 1595285"/>
                    <a:gd name="connsiteX0" fmla="*/ 1847 w 613718"/>
                    <a:gd name="connsiteY0" fmla="*/ 693429 h 1595285"/>
                    <a:gd name="connsiteX1" fmla="*/ 611326 w 613718"/>
                    <a:gd name="connsiteY1" fmla="*/ 0 h 1595285"/>
                    <a:gd name="connsiteX2" fmla="*/ 613718 w 613718"/>
                    <a:gd name="connsiteY2" fmla="*/ 857631 h 1595285"/>
                    <a:gd name="connsiteX3" fmla="*/ 0 w 613718"/>
                    <a:gd name="connsiteY3" fmla="*/ 1595285 h 1595285"/>
                    <a:gd name="connsiteX4" fmla="*/ 1847 w 613718"/>
                    <a:gd name="connsiteY4" fmla="*/ 693429 h 1595285"/>
                    <a:gd name="connsiteX0" fmla="*/ 1847 w 613718"/>
                    <a:gd name="connsiteY0" fmla="*/ 688442 h 1595285"/>
                    <a:gd name="connsiteX1" fmla="*/ 611326 w 613718"/>
                    <a:gd name="connsiteY1" fmla="*/ 0 h 1595285"/>
                    <a:gd name="connsiteX2" fmla="*/ 613718 w 613718"/>
                    <a:gd name="connsiteY2" fmla="*/ 857631 h 1595285"/>
                    <a:gd name="connsiteX3" fmla="*/ 0 w 613718"/>
                    <a:gd name="connsiteY3" fmla="*/ 1595285 h 1595285"/>
                    <a:gd name="connsiteX4" fmla="*/ 1847 w 613718"/>
                    <a:gd name="connsiteY4" fmla="*/ 688442 h 1595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3718" h="1595285">
                      <a:moveTo>
                        <a:pt x="1847" y="688442"/>
                      </a:moveTo>
                      <a:lnTo>
                        <a:pt x="611326" y="0"/>
                      </a:lnTo>
                      <a:cubicBezTo>
                        <a:pt x="611508" y="390621"/>
                        <a:pt x="613536" y="467010"/>
                        <a:pt x="613718" y="857631"/>
                      </a:cubicBezTo>
                      <a:lnTo>
                        <a:pt x="0" y="1595285"/>
                      </a:lnTo>
                      <a:cubicBezTo>
                        <a:pt x="616" y="1294666"/>
                        <a:pt x="1231" y="989061"/>
                        <a:pt x="1847" y="688442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/>
                </a:p>
              </p:txBody>
            </p:sp>
            <p:sp>
              <p:nvSpPr>
                <p:cNvPr id="177" name="Rectangle 9">
                  <a:extLst>
                    <a:ext uri="{FF2B5EF4-FFF2-40B4-BE49-F238E27FC236}">
                      <a16:creationId xmlns:a16="http://schemas.microsoft.com/office/drawing/2014/main" id="{5DA061A1-A902-4E90-91A9-21CC2A6BC866}"/>
                    </a:ext>
                  </a:extLst>
                </p:cNvPr>
                <p:cNvSpPr/>
                <p:nvPr/>
              </p:nvSpPr>
              <p:spPr>
                <a:xfrm>
                  <a:off x="8160221" y="4749050"/>
                  <a:ext cx="767909" cy="1139294"/>
                </a:xfrm>
                <a:custGeom>
                  <a:avLst/>
                  <a:gdLst>
                    <a:gd name="connsiteX0" fmla="*/ 0 w 681901"/>
                    <a:gd name="connsiteY0" fmla="*/ 0 h 850839"/>
                    <a:gd name="connsiteX1" fmla="*/ 681901 w 681901"/>
                    <a:gd name="connsiteY1" fmla="*/ 0 h 850839"/>
                    <a:gd name="connsiteX2" fmla="*/ 681901 w 681901"/>
                    <a:gd name="connsiteY2" fmla="*/ 850839 h 850839"/>
                    <a:gd name="connsiteX3" fmla="*/ 0 w 681901"/>
                    <a:gd name="connsiteY3" fmla="*/ 850839 h 850839"/>
                    <a:gd name="connsiteX4" fmla="*/ 0 w 681901"/>
                    <a:gd name="connsiteY4" fmla="*/ 0 h 850839"/>
                    <a:gd name="connsiteX0" fmla="*/ 0 w 691426"/>
                    <a:gd name="connsiteY0" fmla="*/ 0 h 850839"/>
                    <a:gd name="connsiteX1" fmla="*/ 691426 w 691426"/>
                    <a:gd name="connsiteY1" fmla="*/ 138113 h 850839"/>
                    <a:gd name="connsiteX2" fmla="*/ 681901 w 691426"/>
                    <a:gd name="connsiteY2" fmla="*/ 850839 h 850839"/>
                    <a:gd name="connsiteX3" fmla="*/ 0 w 691426"/>
                    <a:gd name="connsiteY3" fmla="*/ 850839 h 850839"/>
                    <a:gd name="connsiteX4" fmla="*/ 0 w 691426"/>
                    <a:gd name="connsiteY4" fmla="*/ 0 h 850839"/>
                    <a:gd name="connsiteX0" fmla="*/ 0 w 691426"/>
                    <a:gd name="connsiteY0" fmla="*/ 0 h 1003239"/>
                    <a:gd name="connsiteX1" fmla="*/ 691426 w 691426"/>
                    <a:gd name="connsiteY1" fmla="*/ 138113 h 1003239"/>
                    <a:gd name="connsiteX2" fmla="*/ 691426 w 691426"/>
                    <a:gd name="connsiteY2" fmla="*/ 1003239 h 1003239"/>
                    <a:gd name="connsiteX3" fmla="*/ 0 w 691426"/>
                    <a:gd name="connsiteY3" fmla="*/ 850839 h 1003239"/>
                    <a:gd name="connsiteX4" fmla="*/ 0 w 691426"/>
                    <a:gd name="connsiteY4" fmla="*/ 0 h 1003239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  <a:gd name="connsiteX0" fmla="*/ 0 w 691426"/>
                    <a:gd name="connsiteY0" fmla="*/ 0 h 1015145"/>
                    <a:gd name="connsiteX1" fmla="*/ 691426 w 691426"/>
                    <a:gd name="connsiteY1" fmla="*/ 150019 h 1015145"/>
                    <a:gd name="connsiteX2" fmla="*/ 691426 w 691426"/>
                    <a:gd name="connsiteY2" fmla="*/ 1015145 h 1015145"/>
                    <a:gd name="connsiteX3" fmla="*/ 0 w 691426"/>
                    <a:gd name="connsiteY3" fmla="*/ 862745 h 1015145"/>
                    <a:gd name="connsiteX4" fmla="*/ 0 w 691426"/>
                    <a:gd name="connsiteY4" fmla="*/ 0 h 10151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91426" h="1015145">
                      <a:moveTo>
                        <a:pt x="0" y="0"/>
                      </a:moveTo>
                      <a:lnTo>
                        <a:pt x="691426" y="150019"/>
                      </a:lnTo>
                      <a:lnTo>
                        <a:pt x="691426" y="1015145"/>
                      </a:lnTo>
                      <a:lnTo>
                        <a:pt x="0" y="86274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 dirty="0"/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C6633992-B595-4D25-935A-B3220A69A2AB}"/>
                    </a:ext>
                  </a:extLst>
                </p:cNvPr>
                <p:cNvSpPr/>
                <p:nvPr/>
              </p:nvSpPr>
              <p:spPr>
                <a:xfrm>
                  <a:off x="8465146" y="5090511"/>
                  <a:ext cx="142955" cy="171710"/>
                </a:xfrm>
                <a:custGeom>
                  <a:avLst/>
                  <a:gdLst>
                    <a:gd name="connsiteX0" fmla="*/ 6863 w 83198"/>
                    <a:gd name="connsiteY0" fmla="*/ 99956 h 99933"/>
                    <a:gd name="connsiteX1" fmla="*/ 41776 w 83198"/>
                    <a:gd name="connsiteY1" fmla="*/ 99956 h 99933"/>
                    <a:gd name="connsiteX2" fmla="*/ 76690 w 83198"/>
                    <a:gd name="connsiteY2" fmla="*/ 99956 h 99933"/>
                    <a:gd name="connsiteX3" fmla="*/ 83553 w 83198"/>
                    <a:gd name="connsiteY3" fmla="*/ 93064 h 99933"/>
                    <a:gd name="connsiteX4" fmla="*/ 83553 w 83198"/>
                    <a:gd name="connsiteY4" fmla="*/ 85554 h 99933"/>
                    <a:gd name="connsiteX5" fmla="*/ 46599 w 83198"/>
                    <a:gd name="connsiteY5" fmla="*/ 48847 h 99933"/>
                    <a:gd name="connsiteX6" fmla="*/ 66340 w 83198"/>
                    <a:gd name="connsiteY6" fmla="*/ 24660 h 99933"/>
                    <a:gd name="connsiteX7" fmla="*/ 41776 w 83198"/>
                    <a:gd name="connsiteY7" fmla="*/ 0 h 99933"/>
                    <a:gd name="connsiteX8" fmla="*/ 17213 w 83198"/>
                    <a:gd name="connsiteY8" fmla="*/ 24660 h 99933"/>
                    <a:gd name="connsiteX9" fmla="*/ 36954 w 83198"/>
                    <a:gd name="connsiteY9" fmla="*/ 48847 h 99933"/>
                    <a:gd name="connsiteX10" fmla="*/ 0 w 83198"/>
                    <a:gd name="connsiteY10" fmla="*/ 85554 h 99933"/>
                    <a:gd name="connsiteX11" fmla="*/ 0 w 83198"/>
                    <a:gd name="connsiteY11" fmla="*/ 93064 h 99933"/>
                    <a:gd name="connsiteX12" fmla="*/ 6863 w 83198"/>
                    <a:gd name="connsiteY12" fmla="*/ 99956 h 99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198" h="99933">
                      <a:moveTo>
                        <a:pt x="6863" y="99956"/>
                      </a:moveTo>
                      <a:lnTo>
                        <a:pt x="41776" y="99956"/>
                      </a:lnTo>
                      <a:lnTo>
                        <a:pt x="76690" y="99956"/>
                      </a:lnTo>
                      <a:cubicBezTo>
                        <a:pt x="80482" y="99956"/>
                        <a:pt x="83553" y="96872"/>
                        <a:pt x="83553" y="93064"/>
                      </a:cubicBezTo>
                      <a:lnTo>
                        <a:pt x="83553" y="85554"/>
                      </a:lnTo>
                      <a:cubicBezTo>
                        <a:pt x="83553" y="65858"/>
                        <a:pt x="67911" y="48847"/>
                        <a:pt x="46599" y="48847"/>
                      </a:cubicBezTo>
                      <a:cubicBezTo>
                        <a:pt x="57854" y="46597"/>
                        <a:pt x="66340" y="36627"/>
                        <a:pt x="66340" y="24660"/>
                      </a:cubicBezTo>
                      <a:cubicBezTo>
                        <a:pt x="66340" y="11040"/>
                        <a:pt x="55341" y="0"/>
                        <a:pt x="41776" y="0"/>
                      </a:cubicBezTo>
                      <a:cubicBezTo>
                        <a:pt x="28212" y="0"/>
                        <a:pt x="17213" y="11040"/>
                        <a:pt x="17213" y="24660"/>
                      </a:cubicBezTo>
                      <a:cubicBezTo>
                        <a:pt x="17213" y="36627"/>
                        <a:pt x="25699" y="46597"/>
                        <a:pt x="36954" y="48847"/>
                      </a:cubicBezTo>
                      <a:cubicBezTo>
                        <a:pt x="15669" y="48847"/>
                        <a:pt x="0" y="65831"/>
                        <a:pt x="0" y="85554"/>
                      </a:cubicBezTo>
                      <a:lnTo>
                        <a:pt x="0" y="93064"/>
                      </a:lnTo>
                      <a:cubicBezTo>
                        <a:pt x="0" y="96872"/>
                        <a:pt x="3071" y="99956"/>
                        <a:pt x="6863" y="9995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1" name="Freeform: Shape 160">
                  <a:extLst>
                    <a:ext uri="{FF2B5EF4-FFF2-40B4-BE49-F238E27FC236}">
                      <a16:creationId xmlns:a16="http://schemas.microsoft.com/office/drawing/2014/main" id="{9A8A08C9-3932-42F9-A081-C7F785D61888}"/>
                    </a:ext>
                  </a:extLst>
                </p:cNvPr>
                <p:cNvSpPr/>
                <p:nvPr/>
              </p:nvSpPr>
              <p:spPr>
                <a:xfrm>
                  <a:off x="8369264" y="5176336"/>
                  <a:ext cx="74765" cy="119130"/>
                </a:xfrm>
                <a:custGeom>
                  <a:avLst/>
                  <a:gdLst>
                    <a:gd name="connsiteX0" fmla="*/ 5883 w 43511"/>
                    <a:gd name="connsiteY0" fmla="*/ 69237 h 69331"/>
                    <a:gd name="connsiteX1" fmla="*/ 7174 w 43511"/>
                    <a:gd name="connsiteY1" fmla="*/ 69355 h 69331"/>
                    <a:gd name="connsiteX2" fmla="*/ 14214 w 43511"/>
                    <a:gd name="connsiteY2" fmla="*/ 63447 h 69331"/>
                    <a:gd name="connsiteX3" fmla="*/ 24139 w 43511"/>
                    <a:gd name="connsiteY3" fmla="*/ 35342 h 69331"/>
                    <a:gd name="connsiteX4" fmla="*/ 41483 w 43511"/>
                    <a:gd name="connsiteY4" fmla="*/ 12373 h 69331"/>
                    <a:gd name="connsiteX5" fmla="*/ 41669 w 43511"/>
                    <a:gd name="connsiteY5" fmla="*/ 2201 h 69331"/>
                    <a:gd name="connsiteX6" fmla="*/ 31539 w 43511"/>
                    <a:gd name="connsiteY6" fmla="*/ 2014 h 69331"/>
                    <a:gd name="connsiteX7" fmla="*/ 11547 w 43511"/>
                    <a:gd name="connsiteY7" fmla="*/ 28477 h 69331"/>
                    <a:gd name="connsiteX8" fmla="*/ 117 w 43511"/>
                    <a:gd name="connsiteY8" fmla="*/ 60871 h 69331"/>
                    <a:gd name="connsiteX9" fmla="*/ 5883 w 43511"/>
                    <a:gd name="connsiteY9" fmla="*/ 69237 h 69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3511" h="69331">
                      <a:moveTo>
                        <a:pt x="5883" y="69237"/>
                      </a:moveTo>
                      <a:cubicBezTo>
                        <a:pt x="6317" y="69316"/>
                        <a:pt x="6748" y="69355"/>
                        <a:pt x="7174" y="69355"/>
                      </a:cubicBezTo>
                      <a:cubicBezTo>
                        <a:pt x="10569" y="69355"/>
                        <a:pt x="13585" y="66921"/>
                        <a:pt x="14214" y="63447"/>
                      </a:cubicBezTo>
                      <a:cubicBezTo>
                        <a:pt x="15978" y="53715"/>
                        <a:pt x="19318" y="44259"/>
                        <a:pt x="24139" y="35342"/>
                      </a:cubicBezTo>
                      <a:cubicBezTo>
                        <a:pt x="28793" y="26737"/>
                        <a:pt x="34628" y="19009"/>
                        <a:pt x="41483" y="12373"/>
                      </a:cubicBezTo>
                      <a:cubicBezTo>
                        <a:pt x="44332" y="9616"/>
                        <a:pt x="44415" y="5062"/>
                        <a:pt x="41669" y="2201"/>
                      </a:cubicBezTo>
                      <a:cubicBezTo>
                        <a:pt x="38923" y="-659"/>
                        <a:pt x="34388" y="-743"/>
                        <a:pt x="31539" y="2014"/>
                      </a:cubicBezTo>
                      <a:cubicBezTo>
                        <a:pt x="23627" y="9673"/>
                        <a:pt x="16900" y="18576"/>
                        <a:pt x="11547" y="28477"/>
                      </a:cubicBezTo>
                      <a:cubicBezTo>
                        <a:pt x="5999" y="38737"/>
                        <a:pt x="2153" y="49636"/>
                        <a:pt x="117" y="60871"/>
                      </a:cubicBezTo>
                      <a:cubicBezTo>
                        <a:pt x="-591" y="64780"/>
                        <a:pt x="1990" y="68525"/>
                        <a:pt x="5883" y="6923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1F343761-FA12-434E-AEB5-E09F591AF8C6}"/>
                    </a:ext>
                  </a:extLst>
                </p:cNvPr>
                <p:cNvSpPr/>
                <p:nvPr/>
              </p:nvSpPr>
              <p:spPr>
                <a:xfrm>
                  <a:off x="8629548" y="5176336"/>
                  <a:ext cx="74765" cy="119130"/>
                </a:xfrm>
                <a:custGeom>
                  <a:avLst/>
                  <a:gdLst>
                    <a:gd name="connsiteX0" fmla="*/ 19537 w 43511"/>
                    <a:gd name="connsiteY0" fmla="*/ 35342 h 69331"/>
                    <a:gd name="connsiteX1" fmla="*/ 29461 w 43511"/>
                    <a:gd name="connsiteY1" fmla="*/ 63448 h 69331"/>
                    <a:gd name="connsiteX2" fmla="*/ 36502 w 43511"/>
                    <a:gd name="connsiteY2" fmla="*/ 69355 h 69331"/>
                    <a:gd name="connsiteX3" fmla="*/ 37793 w 43511"/>
                    <a:gd name="connsiteY3" fmla="*/ 69237 h 69331"/>
                    <a:gd name="connsiteX4" fmla="*/ 43558 w 43511"/>
                    <a:gd name="connsiteY4" fmla="*/ 60871 h 69331"/>
                    <a:gd name="connsiteX5" fmla="*/ 32128 w 43511"/>
                    <a:gd name="connsiteY5" fmla="*/ 28477 h 69331"/>
                    <a:gd name="connsiteX6" fmla="*/ 12136 w 43511"/>
                    <a:gd name="connsiteY6" fmla="*/ 2014 h 69331"/>
                    <a:gd name="connsiteX7" fmla="*/ 2006 w 43511"/>
                    <a:gd name="connsiteY7" fmla="*/ 2201 h 69331"/>
                    <a:gd name="connsiteX8" fmla="*/ 2192 w 43511"/>
                    <a:gd name="connsiteY8" fmla="*/ 12374 h 69331"/>
                    <a:gd name="connsiteX9" fmla="*/ 19537 w 43511"/>
                    <a:gd name="connsiteY9" fmla="*/ 35342 h 693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3511" h="69331">
                      <a:moveTo>
                        <a:pt x="19537" y="35342"/>
                      </a:moveTo>
                      <a:cubicBezTo>
                        <a:pt x="24358" y="44259"/>
                        <a:pt x="27698" y="53715"/>
                        <a:pt x="29461" y="63448"/>
                      </a:cubicBezTo>
                      <a:cubicBezTo>
                        <a:pt x="30091" y="66921"/>
                        <a:pt x="33106" y="69355"/>
                        <a:pt x="36502" y="69355"/>
                      </a:cubicBezTo>
                      <a:cubicBezTo>
                        <a:pt x="36927" y="69355"/>
                        <a:pt x="37359" y="69316"/>
                        <a:pt x="37793" y="69237"/>
                      </a:cubicBezTo>
                      <a:cubicBezTo>
                        <a:pt x="41685" y="68526"/>
                        <a:pt x="44267" y="64780"/>
                        <a:pt x="43558" y="60871"/>
                      </a:cubicBezTo>
                      <a:cubicBezTo>
                        <a:pt x="41522" y="49636"/>
                        <a:pt x="37676" y="38736"/>
                        <a:pt x="32128" y="28477"/>
                      </a:cubicBezTo>
                      <a:cubicBezTo>
                        <a:pt x="26775" y="18576"/>
                        <a:pt x="20048" y="9672"/>
                        <a:pt x="12136" y="2014"/>
                      </a:cubicBezTo>
                      <a:cubicBezTo>
                        <a:pt x="9287" y="-743"/>
                        <a:pt x="4752" y="-659"/>
                        <a:pt x="2006" y="2201"/>
                      </a:cubicBezTo>
                      <a:cubicBezTo>
                        <a:pt x="-740" y="5062"/>
                        <a:pt x="-656" y="9616"/>
                        <a:pt x="2192" y="12374"/>
                      </a:cubicBezTo>
                      <a:cubicBezTo>
                        <a:pt x="9048" y="19009"/>
                        <a:pt x="14883" y="26737"/>
                        <a:pt x="19537" y="3534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F60F1C3E-1118-42FC-B937-B58837838B2F}"/>
                    </a:ext>
                  </a:extLst>
                </p:cNvPr>
                <p:cNvSpPr/>
                <p:nvPr/>
              </p:nvSpPr>
              <p:spPr>
                <a:xfrm>
                  <a:off x="8471471" y="5389091"/>
                  <a:ext cx="130632" cy="32863"/>
                </a:xfrm>
                <a:custGeom>
                  <a:avLst/>
                  <a:gdLst>
                    <a:gd name="connsiteX0" fmla="*/ 67039 w 76025"/>
                    <a:gd name="connsiteY0" fmla="*/ 362 h 19126"/>
                    <a:gd name="connsiteX1" fmla="*/ 38096 w 76025"/>
                    <a:gd name="connsiteY1" fmla="*/ 5009 h 19126"/>
                    <a:gd name="connsiteX2" fmla="*/ 37704 w 76025"/>
                    <a:gd name="connsiteY2" fmla="*/ 5014 h 19126"/>
                    <a:gd name="connsiteX3" fmla="*/ 9324 w 76025"/>
                    <a:gd name="connsiteY3" fmla="*/ 669 h 19126"/>
                    <a:gd name="connsiteX4" fmla="*/ 336 w 76025"/>
                    <a:gd name="connsiteY4" fmla="*/ 5359 h 19126"/>
                    <a:gd name="connsiteX5" fmla="*/ 5007 w 76025"/>
                    <a:gd name="connsiteY5" fmla="*/ 14385 h 19126"/>
                    <a:gd name="connsiteX6" fmla="*/ 37704 w 76025"/>
                    <a:gd name="connsiteY6" fmla="*/ 19401 h 19126"/>
                    <a:gd name="connsiteX7" fmla="*/ 38096 w 76025"/>
                    <a:gd name="connsiteY7" fmla="*/ 19401 h 19126"/>
                    <a:gd name="connsiteX8" fmla="*/ 71509 w 76025"/>
                    <a:gd name="connsiteY8" fmla="*/ 14030 h 19126"/>
                    <a:gd name="connsiteX9" fmla="*/ 76080 w 76025"/>
                    <a:gd name="connsiteY9" fmla="*/ 4951 h 19126"/>
                    <a:gd name="connsiteX10" fmla="*/ 67039 w 76025"/>
                    <a:gd name="connsiteY10" fmla="*/ 362 h 191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76025" h="19126">
                      <a:moveTo>
                        <a:pt x="67039" y="362"/>
                      </a:moveTo>
                      <a:cubicBezTo>
                        <a:pt x="57797" y="3412"/>
                        <a:pt x="48063" y="4976"/>
                        <a:pt x="38096" y="5009"/>
                      </a:cubicBezTo>
                      <a:cubicBezTo>
                        <a:pt x="37967" y="5014"/>
                        <a:pt x="37833" y="5014"/>
                        <a:pt x="37704" y="5014"/>
                      </a:cubicBezTo>
                      <a:cubicBezTo>
                        <a:pt x="27956" y="5014"/>
                        <a:pt x="18404" y="3551"/>
                        <a:pt x="9324" y="669"/>
                      </a:cubicBezTo>
                      <a:cubicBezTo>
                        <a:pt x="5551" y="-530"/>
                        <a:pt x="1530" y="1570"/>
                        <a:pt x="336" y="5359"/>
                      </a:cubicBezTo>
                      <a:cubicBezTo>
                        <a:pt x="-858" y="9148"/>
                        <a:pt x="1234" y="13186"/>
                        <a:pt x="5007" y="14385"/>
                      </a:cubicBezTo>
                      <a:cubicBezTo>
                        <a:pt x="15485" y="17713"/>
                        <a:pt x="26485" y="19401"/>
                        <a:pt x="37704" y="19401"/>
                      </a:cubicBezTo>
                      <a:lnTo>
                        <a:pt x="38096" y="19401"/>
                      </a:lnTo>
                      <a:cubicBezTo>
                        <a:pt x="49587" y="19358"/>
                        <a:pt x="60825" y="17554"/>
                        <a:pt x="71509" y="14030"/>
                      </a:cubicBezTo>
                      <a:cubicBezTo>
                        <a:pt x="75268" y="12792"/>
                        <a:pt x="77317" y="8725"/>
                        <a:pt x="76080" y="4951"/>
                      </a:cubicBezTo>
                      <a:cubicBezTo>
                        <a:pt x="74848" y="1177"/>
                        <a:pt x="70797" y="-880"/>
                        <a:pt x="67039" y="36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A91EC4BC-576A-4EF6-A520-2ADF24F169F2}"/>
                    </a:ext>
                  </a:extLst>
                </p:cNvPr>
                <p:cNvSpPr/>
                <p:nvPr/>
              </p:nvSpPr>
              <p:spPr>
                <a:xfrm>
                  <a:off x="8326366" y="5338580"/>
                  <a:ext cx="142955" cy="171710"/>
                </a:xfrm>
                <a:custGeom>
                  <a:avLst/>
                  <a:gdLst>
                    <a:gd name="connsiteX0" fmla="*/ 46598 w 83198"/>
                    <a:gd name="connsiteY0" fmla="*/ 48852 h 99933"/>
                    <a:gd name="connsiteX1" fmla="*/ 66340 w 83198"/>
                    <a:gd name="connsiteY1" fmla="*/ 24665 h 99933"/>
                    <a:gd name="connsiteX2" fmla="*/ 41776 w 83198"/>
                    <a:gd name="connsiteY2" fmla="*/ 0 h 99933"/>
                    <a:gd name="connsiteX3" fmla="*/ 17213 w 83198"/>
                    <a:gd name="connsiteY3" fmla="*/ 24665 h 99933"/>
                    <a:gd name="connsiteX4" fmla="*/ 36955 w 83198"/>
                    <a:gd name="connsiteY4" fmla="*/ 48852 h 99933"/>
                    <a:gd name="connsiteX5" fmla="*/ 0 w 83198"/>
                    <a:gd name="connsiteY5" fmla="*/ 85559 h 99933"/>
                    <a:gd name="connsiteX6" fmla="*/ 0 w 83198"/>
                    <a:gd name="connsiteY6" fmla="*/ 93070 h 99933"/>
                    <a:gd name="connsiteX7" fmla="*/ 6863 w 83198"/>
                    <a:gd name="connsiteY7" fmla="*/ 99961 h 99933"/>
                    <a:gd name="connsiteX8" fmla="*/ 41776 w 83198"/>
                    <a:gd name="connsiteY8" fmla="*/ 99961 h 99933"/>
                    <a:gd name="connsiteX9" fmla="*/ 76690 w 83198"/>
                    <a:gd name="connsiteY9" fmla="*/ 99961 h 99933"/>
                    <a:gd name="connsiteX10" fmla="*/ 83553 w 83198"/>
                    <a:gd name="connsiteY10" fmla="*/ 93070 h 99933"/>
                    <a:gd name="connsiteX11" fmla="*/ 83553 w 83198"/>
                    <a:gd name="connsiteY11" fmla="*/ 85559 h 99933"/>
                    <a:gd name="connsiteX12" fmla="*/ 46598 w 83198"/>
                    <a:gd name="connsiteY12" fmla="*/ 48852 h 99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198" h="99933">
                      <a:moveTo>
                        <a:pt x="46598" y="48852"/>
                      </a:moveTo>
                      <a:cubicBezTo>
                        <a:pt x="57854" y="46601"/>
                        <a:pt x="66340" y="36628"/>
                        <a:pt x="66340" y="24665"/>
                      </a:cubicBezTo>
                      <a:cubicBezTo>
                        <a:pt x="66340" y="11045"/>
                        <a:pt x="55341" y="0"/>
                        <a:pt x="41776" y="0"/>
                      </a:cubicBezTo>
                      <a:cubicBezTo>
                        <a:pt x="28212" y="0"/>
                        <a:pt x="17213" y="11045"/>
                        <a:pt x="17213" y="24665"/>
                      </a:cubicBezTo>
                      <a:cubicBezTo>
                        <a:pt x="17213" y="36628"/>
                        <a:pt x="25699" y="46601"/>
                        <a:pt x="36955" y="48852"/>
                      </a:cubicBezTo>
                      <a:cubicBezTo>
                        <a:pt x="15689" y="48852"/>
                        <a:pt x="0" y="65819"/>
                        <a:pt x="0" y="85559"/>
                      </a:cubicBezTo>
                      <a:lnTo>
                        <a:pt x="0" y="93070"/>
                      </a:lnTo>
                      <a:cubicBezTo>
                        <a:pt x="0" y="96873"/>
                        <a:pt x="3071" y="99961"/>
                        <a:pt x="6863" y="99961"/>
                      </a:cubicBezTo>
                      <a:lnTo>
                        <a:pt x="41776" y="99961"/>
                      </a:lnTo>
                      <a:lnTo>
                        <a:pt x="76690" y="99961"/>
                      </a:lnTo>
                      <a:cubicBezTo>
                        <a:pt x="80482" y="99961"/>
                        <a:pt x="83553" y="96873"/>
                        <a:pt x="83553" y="93070"/>
                      </a:cubicBezTo>
                      <a:lnTo>
                        <a:pt x="83553" y="85559"/>
                      </a:lnTo>
                      <a:cubicBezTo>
                        <a:pt x="83553" y="65902"/>
                        <a:pt x="67954" y="48852"/>
                        <a:pt x="46598" y="4885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80666854-29BE-4D04-8589-9CE47362C290}"/>
                    </a:ext>
                  </a:extLst>
                </p:cNvPr>
                <p:cNvSpPr/>
                <p:nvPr/>
              </p:nvSpPr>
              <p:spPr>
                <a:xfrm>
                  <a:off x="8603451" y="5338580"/>
                  <a:ext cx="142955" cy="171710"/>
                </a:xfrm>
                <a:custGeom>
                  <a:avLst/>
                  <a:gdLst>
                    <a:gd name="connsiteX0" fmla="*/ 46599 w 83198"/>
                    <a:gd name="connsiteY0" fmla="*/ 48852 h 99933"/>
                    <a:gd name="connsiteX1" fmla="*/ 66341 w 83198"/>
                    <a:gd name="connsiteY1" fmla="*/ 24665 h 99933"/>
                    <a:gd name="connsiteX2" fmla="*/ 41777 w 83198"/>
                    <a:gd name="connsiteY2" fmla="*/ 0 h 99933"/>
                    <a:gd name="connsiteX3" fmla="*/ 17213 w 83198"/>
                    <a:gd name="connsiteY3" fmla="*/ 24665 h 99933"/>
                    <a:gd name="connsiteX4" fmla="*/ 36954 w 83198"/>
                    <a:gd name="connsiteY4" fmla="*/ 48852 h 99933"/>
                    <a:gd name="connsiteX5" fmla="*/ 0 w 83198"/>
                    <a:gd name="connsiteY5" fmla="*/ 85559 h 99933"/>
                    <a:gd name="connsiteX6" fmla="*/ 0 w 83198"/>
                    <a:gd name="connsiteY6" fmla="*/ 93069 h 99933"/>
                    <a:gd name="connsiteX7" fmla="*/ 6863 w 83198"/>
                    <a:gd name="connsiteY7" fmla="*/ 99961 h 99933"/>
                    <a:gd name="connsiteX8" fmla="*/ 41776 w 83198"/>
                    <a:gd name="connsiteY8" fmla="*/ 99961 h 99933"/>
                    <a:gd name="connsiteX9" fmla="*/ 76690 w 83198"/>
                    <a:gd name="connsiteY9" fmla="*/ 99961 h 99933"/>
                    <a:gd name="connsiteX10" fmla="*/ 83553 w 83198"/>
                    <a:gd name="connsiteY10" fmla="*/ 93069 h 99933"/>
                    <a:gd name="connsiteX11" fmla="*/ 83553 w 83198"/>
                    <a:gd name="connsiteY11" fmla="*/ 85559 h 99933"/>
                    <a:gd name="connsiteX12" fmla="*/ 46599 w 83198"/>
                    <a:gd name="connsiteY12" fmla="*/ 48852 h 999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3198" h="99933">
                      <a:moveTo>
                        <a:pt x="46599" y="48852"/>
                      </a:moveTo>
                      <a:cubicBezTo>
                        <a:pt x="57854" y="46601"/>
                        <a:pt x="66341" y="36628"/>
                        <a:pt x="66341" y="24665"/>
                      </a:cubicBezTo>
                      <a:cubicBezTo>
                        <a:pt x="66341" y="11045"/>
                        <a:pt x="55341" y="0"/>
                        <a:pt x="41777" y="0"/>
                      </a:cubicBezTo>
                      <a:cubicBezTo>
                        <a:pt x="28208" y="0"/>
                        <a:pt x="17213" y="11045"/>
                        <a:pt x="17213" y="24665"/>
                      </a:cubicBezTo>
                      <a:cubicBezTo>
                        <a:pt x="17213" y="36628"/>
                        <a:pt x="25696" y="46601"/>
                        <a:pt x="36954" y="48852"/>
                      </a:cubicBezTo>
                      <a:cubicBezTo>
                        <a:pt x="15639" y="48852"/>
                        <a:pt x="0" y="65859"/>
                        <a:pt x="0" y="85559"/>
                      </a:cubicBezTo>
                      <a:lnTo>
                        <a:pt x="0" y="93069"/>
                      </a:lnTo>
                      <a:cubicBezTo>
                        <a:pt x="0" y="96872"/>
                        <a:pt x="3071" y="99961"/>
                        <a:pt x="6863" y="99961"/>
                      </a:cubicBezTo>
                      <a:lnTo>
                        <a:pt x="41776" y="99961"/>
                      </a:lnTo>
                      <a:lnTo>
                        <a:pt x="76690" y="99961"/>
                      </a:lnTo>
                      <a:cubicBezTo>
                        <a:pt x="80477" y="99961"/>
                        <a:pt x="83553" y="96872"/>
                        <a:pt x="83553" y="93069"/>
                      </a:cubicBezTo>
                      <a:lnTo>
                        <a:pt x="83553" y="85559"/>
                      </a:lnTo>
                      <a:cubicBezTo>
                        <a:pt x="83553" y="65861"/>
                        <a:pt x="67911" y="48852"/>
                        <a:pt x="46599" y="4885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46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/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A42386EB-3F0E-4B57-BBB7-044AC8D296AD}"/>
                    </a:ext>
                  </a:extLst>
                </p:cNvPr>
                <p:cNvSpPr/>
                <p:nvPr/>
              </p:nvSpPr>
              <p:spPr>
                <a:xfrm>
                  <a:off x="8849448" y="4318068"/>
                  <a:ext cx="92061" cy="101268"/>
                </a:xfrm>
                <a:custGeom>
                  <a:avLst/>
                  <a:gdLst>
                    <a:gd name="connsiteX0" fmla="*/ 39896 w 47875"/>
                    <a:gd name="connsiteY0" fmla="*/ 0 h 52662"/>
                    <a:gd name="connsiteX1" fmla="*/ 7979 w 47875"/>
                    <a:gd name="connsiteY1" fmla="*/ 0 h 52662"/>
                    <a:gd name="connsiteX2" fmla="*/ 0 w 47875"/>
                    <a:gd name="connsiteY2" fmla="*/ 7979 h 52662"/>
                    <a:gd name="connsiteX3" fmla="*/ 0 w 47875"/>
                    <a:gd name="connsiteY3" fmla="*/ 45216 h 52662"/>
                    <a:gd name="connsiteX4" fmla="*/ 7979 w 47875"/>
                    <a:gd name="connsiteY4" fmla="*/ 53195 h 52662"/>
                    <a:gd name="connsiteX5" fmla="*/ 39896 w 47875"/>
                    <a:gd name="connsiteY5" fmla="*/ 53195 h 52662"/>
                    <a:gd name="connsiteX6" fmla="*/ 47875 w 47875"/>
                    <a:gd name="connsiteY6" fmla="*/ 45216 h 52662"/>
                    <a:gd name="connsiteX7" fmla="*/ 47875 w 47875"/>
                    <a:gd name="connsiteY7" fmla="*/ 7979 h 52662"/>
                    <a:gd name="connsiteX8" fmla="*/ 39896 w 47875"/>
                    <a:gd name="connsiteY8" fmla="*/ 0 h 52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52662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45216"/>
                      </a:lnTo>
                      <a:cubicBezTo>
                        <a:pt x="0" y="49625"/>
                        <a:pt x="3575" y="53195"/>
                        <a:pt x="7979" y="53195"/>
                      </a:cubicBezTo>
                      <a:lnTo>
                        <a:pt x="39896" y="53195"/>
                      </a:lnTo>
                      <a:cubicBezTo>
                        <a:pt x="44306" y="53195"/>
                        <a:pt x="47875" y="49625"/>
                        <a:pt x="47875" y="45216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7292E42E-0BFB-4B2A-B10A-F38885A98F20}"/>
                    </a:ext>
                  </a:extLst>
                </p:cNvPr>
                <p:cNvSpPr/>
                <p:nvPr/>
              </p:nvSpPr>
              <p:spPr>
                <a:xfrm>
                  <a:off x="8972198" y="4242209"/>
                  <a:ext cx="92061" cy="177986"/>
                </a:xfrm>
                <a:custGeom>
                  <a:avLst/>
                  <a:gdLst>
                    <a:gd name="connsiteX0" fmla="*/ 39896 w 47875"/>
                    <a:gd name="connsiteY0" fmla="*/ 0 h 92558"/>
                    <a:gd name="connsiteX1" fmla="*/ 7979 w 47875"/>
                    <a:gd name="connsiteY1" fmla="*/ 0 h 92558"/>
                    <a:gd name="connsiteX2" fmla="*/ 0 w 47875"/>
                    <a:gd name="connsiteY2" fmla="*/ 7979 h 92558"/>
                    <a:gd name="connsiteX3" fmla="*/ 0 w 47875"/>
                    <a:gd name="connsiteY3" fmla="*/ 84665 h 92558"/>
                    <a:gd name="connsiteX4" fmla="*/ 7979 w 47875"/>
                    <a:gd name="connsiteY4" fmla="*/ 92644 h 92558"/>
                    <a:gd name="connsiteX5" fmla="*/ 39896 w 47875"/>
                    <a:gd name="connsiteY5" fmla="*/ 92644 h 92558"/>
                    <a:gd name="connsiteX6" fmla="*/ 47875 w 47875"/>
                    <a:gd name="connsiteY6" fmla="*/ 84665 h 92558"/>
                    <a:gd name="connsiteX7" fmla="*/ 47875 w 47875"/>
                    <a:gd name="connsiteY7" fmla="*/ 7979 h 92558"/>
                    <a:gd name="connsiteX8" fmla="*/ 39896 w 47875"/>
                    <a:gd name="connsiteY8" fmla="*/ 0 h 92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92558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75"/>
                        <a:pt x="0" y="7979"/>
                      </a:cubicBezTo>
                      <a:lnTo>
                        <a:pt x="0" y="84665"/>
                      </a:lnTo>
                      <a:cubicBezTo>
                        <a:pt x="0" y="89075"/>
                        <a:pt x="3575" y="92644"/>
                        <a:pt x="7979" y="92644"/>
                      </a:cubicBezTo>
                      <a:lnTo>
                        <a:pt x="39896" y="92644"/>
                      </a:lnTo>
                      <a:cubicBezTo>
                        <a:pt x="44306" y="92644"/>
                        <a:pt x="47875" y="89075"/>
                        <a:pt x="47875" y="84665"/>
                      </a:cubicBezTo>
                      <a:lnTo>
                        <a:pt x="47875" y="7979"/>
                      </a:lnTo>
                      <a:cubicBezTo>
                        <a:pt x="47875" y="3575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8A364531-0118-416E-BFE2-008E45372F4C}"/>
                    </a:ext>
                  </a:extLst>
                </p:cNvPr>
                <p:cNvSpPr/>
                <p:nvPr/>
              </p:nvSpPr>
              <p:spPr>
                <a:xfrm>
                  <a:off x="9094947" y="4128471"/>
                  <a:ext cx="92061" cy="291528"/>
                </a:xfrm>
                <a:custGeom>
                  <a:avLst/>
                  <a:gdLst>
                    <a:gd name="connsiteX0" fmla="*/ 39896 w 47875"/>
                    <a:gd name="connsiteY0" fmla="*/ 0 h 151604"/>
                    <a:gd name="connsiteX1" fmla="*/ 7979 w 47875"/>
                    <a:gd name="connsiteY1" fmla="*/ 0 h 151604"/>
                    <a:gd name="connsiteX2" fmla="*/ 0 w 47875"/>
                    <a:gd name="connsiteY2" fmla="*/ 7979 h 151604"/>
                    <a:gd name="connsiteX3" fmla="*/ 0 w 47875"/>
                    <a:gd name="connsiteY3" fmla="*/ 143812 h 151604"/>
                    <a:gd name="connsiteX4" fmla="*/ 7979 w 47875"/>
                    <a:gd name="connsiteY4" fmla="*/ 151791 h 151604"/>
                    <a:gd name="connsiteX5" fmla="*/ 39896 w 47875"/>
                    <a:gd name="connsiteY5" fmla="*/ 151791 h 151604"/>
                    <a:gd name="connsiteX6" fmla="*/ 47875 w 47875"/>
                    <a:gd name="connsiteY6" fmla="*/ 143812 h 151604"/>
                    <a:gd name="connsiteX7" fmla="*/ 47875 w 47875"/>
                    <a:gd name="connsiteY7" fmla="*/ 7979 h 151604"/>
                    <a:gd name="connsiteX8" fmla="*/ 39896 w 47875"/>
                    <a:gd name="connsiteY8" fmla="*/ 0 h 151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151604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143812"/>
                      </a:lnTo>
                      <a:cubicBezTo>
                        <a:pt x="0" y="148222"/>
                        <a:pt x="3575" y="151791"/>
                        <a:pt x="7979" y="151791"/>
                      </a:cubicBezTo>
                      <a:lnTo>
                        <a:pt x="39896" y="151791"/>
                      </a:lnTo>
                      <a:cubicBezTo>
                        <a:pt x="44306" y="151791"/>
                        <a:pt x="47875" y="148222"/>
                        <a:pt x="47875" y="143812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1C565A5B-D727-4E47-A81E-810C81B0D011}"/>
                    </a:ext>
                  </a:extLst>
                </p:cNvPr>
                <p:cNvSpPr/>
                <p:nvPr/>
              </p:nvSpPr>
              <p:spPr>
                <a:xfrm>
                  <a:off x="9217695" y="4015329"/>
                  <a:ext cx="92061" cy="404048"/>
                </a:xfrm>
                <a:custGeom>
                  <a:avLst/>
                  <a:gdLst>
                    <a:gd name="connsiteX0" fmla="*/ 39896 w 47875"/>
                    <a:gd name="connsiteY0" fmla="*/ 0 h 210119"/>
                    <a:gd name="connsiteX1" fmla="*/ 7979 w 47875"/>
                    <a:gd name="connsiteY1" fmla="*/ 0 h 210119"/>
                    <a:gd name="connsiteX2" fmla="*/ 0 w 47875"/>
                    <a:gd name="connsiteY2" fmla="*/ 7979 h 210119"/>
                    <a:gd name="connsiteX3" fmla="*/ 0 w 47875"/>
                    <a:gd name="connsiteY3" fmla="*/ 202651 h 210119"/>
                    <a:gd name="connsiteX4" fmla="*/ 7979 w 47875"/>
                    <a:gd name="connsiteY4" fmla="*/ 210630 h 210119"/>
                    <a:gd name="connsiteX5" fmla="*/ 39896 w 47875"/>
                    <a:gd name="connsiteY5" fmla="*/ 210630 h 210119"/>
                    <a:gd name="connsiteX6" fmla="*/ 47875 w 47875"/>
                    <a:gd name="connsiteY6" fmla="*/ 202651 h 210119"/>
                    <a:gd name="connsiteX7" fmla="*/ 47875 w 47875"/>
                    <a:gd name="connsiteY7" fmla="*/ 7979 h 210119"/>
                    <a:gd name="connsiteX8" fmla="*/ 39896 w 47875"/>
                    <a:gd name="connsiteY8" fmla="*/ 0 h 210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7875" h="210119">
                      <a:moveTo>
                        <a:pt x="39896" y="0"/>
                      </a:moveTo>
                      <a:lnTo>
                        <a:pt x="7979" y="0"/>
                      </a:lnTo>
                      <a:cubicBezTo>
                        <a:pt x="3575" y="0"/>
                        <a:pt x="0" y="3569"/>
                        <a:pt x="0" y="7979"/>
                      </a:cubicBezTo>
                      <a:lnTo>
                        <a:pt x="0" y="202651"/>
                      </a:lnTo>
                      <a:cubicBezTo>
                        <a:pt x="0" y="207060"/>
                        <a:pt x="3575" y="210630"/>
                        <a:pt x="7979" y="210630"/>
                      </a:cubicBezTo>
                      <a:lnTo>
                        <a:pt x="39896" y="210630"/>
                      </a:lnTo>
                      <a:cubicBezTo>
                        <a:pt x="44306" y="210630"/>
                        <a:pt x="47875" y="207060"/>
                        <a:pt x="47875" y="202651"/>
                      </a:cubicBezTo>
                      <a:lnTo>
                        <a:pt x="47875" y="7979"/>
                      </a:lnTo>
                      <a:cubicBezTo>
                        <a:pt x="47875" y="3569"/>
                        <a:pt x="44306" y="0"/>
                        <a:pt x="3989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D0A7FBD0-D401-4DFB-B3A4-3E56B7191941}"/>
                    </a:ext>
                  </a:extLst>
                </p:cNvPr>
                <p:cNvSpPr/>
                <p:nvPr/>
              </p:nvSpPr>
              <p:spPr>
                <a:xfrm>
                  <a:off x="8849452" y="3896629"/>
                  <a:ext cx="464400" cy="390750"/>
                </a:xfrm>
                <a:custGeom>
                  <a:avLst/>
                  <a:gdLst>
                    <a:gd name="connsiteX0" fmla="*/ 238100 w 241504"/>
                    <a:gd name="connsiteY0" fmla="*/ 1380 h 203203"/>
                    <a:gd name="connsiteX1" fmla="*/ 227015 w 241504"/>
                    <a:gd name="connsiteY1" fmla="*/ 3496 h 203203"/>
                    <a:gd name="connsiteX2" fmla="*/ 209136 w 241504"/>
                    <a:gd name="connsiteY2" fmla="*/ 29810 h 203203"/>
                    <a:gd name="connsiteX3" fmla="*/ 181875 w 241504"/>
                    <a:gd name="connsiteY3" fmla="*/ 29810 h 203203"/>
                    <a:gd name="connsiteX4" fmla="*/ 174806 w 241504"/>
                    <a:gd name="connsiteY4" fmla="*/ 34088 h 203203"/>
                    <a:gd name="connsiteX5" fmla="*/ 146243 w 241504"/>
                    <a:gd name="connsiteY5" fmla="*/ 88648 h 203203"/>
                    <a:gd name="connsiteX6" fmla="*/ 119688 w 241504"/>
                    <a:gd name="connsiteY6" fmla="*/ 88648 h 203203"/>
                    <a:gd name="connsiteX7" fmla="*/ 112693 w 241504"/>
                    <a:gd name="connsiteY7" fmla="*/ 92789 h 203203"/>
                    <a:gd name="connsiteX8" fmla="*/ 82516 w 241504"/>
                    <a:gd name="connsiteY8" fmla="*/ 147797 h 203203"/>
                    <a:gd name="connsiteX9" fmla="*/ 55854 w 241504"/>
                    <a:gd name="connsiteY9" fmla="*/ 147797 h 203203"/>
                    <a:gd name="connsiteX10" fmla="*/ 49280 w 241504"/>
                    <a:gd name="connsiteY10" fmla="*/ 151255 h 203203"/>
                    <a:gd name="connsiteX11" fmla="*/ 24529 w 241504"/>
                    <a:gd name="connsiteY11" fmla="*/ 187246 h 203203"/>
                    <a:gd name="connsiteX12" fmla="*/ 7979 w 241504"/>
                    <a:gd name="connsiteY12" fmla="*/ 187246 h 203203"/>
                    <a:gd name="connsiteX13" fmla="*/ 0 w 241504"/>
                    <a:gd name="connsiteY13" fmla="*/ 195225 h 203203"/>
                    <a:gd name="connsiteX14" fmla="*/ 7979 w 241504"/>
                    <a:gd name="connsiteY14" fmla="*/ 203205 h 203203"/>
                    <a:gd name="connsiteX15" fmla="*/ 28725 w 241504"/>
                    <a:gd name="connsiteY15" fmla="*/ 203205 h 203203"/>
                    <a:gd name="connsiteX16" fmla="*/ 35299 w 241504"/>
                    <a:gd name="connsiteY16" fmla="*/ 199747 h 203203"/>
                    <a:gd name="connsiteX17" fmla="*/ 60051 w 241504"/>
                    <a:gd name="connsiteY17" fmla="*/ 163755 h 203203"/>
                    <a:gd name="connsiteX18" fmla="*/ 87239 w 241504"/>
                    <a:gd name="connsiteY18" fmla="*/ 163755 h 203203"/>
                    <a:gd name="connsiteX19" fmla="*/ 94235 w 241504"/>
                    <a:gd name="connsiteY19" fmla="*/ 159614 h 203203"/>
                    <a:gd name="connsiteX20" fmla="*/ 124412 w 241504"/>
                    <a:gd name="connsiteY20" fmla="*/ 104607 h 203203"/>
                    <a:gd name="connsiteX21" fmla="*/ 151073 w 241504"/>
                    <a:gd name="connsiteY21" fmla="*/ 104607 h 203203"/>
                    <a:gd name="connsiteX22" fmla="*/ 158142 w 241504"/>
                    <a:gd name="connsiteY22" fmla="*/ 100328 h 203203"/>
                    <a:gd name="connsiteX23" fmla="*/ 186704 w 241504"/>
                    <a:gd name="connsiteY23" fmla="*/ 45768 h 203203"/>
                    <a:gd name="connsiteX24" fmla="*/ 213361 w 241504"/>
                    <a:gd name="connsiteY24" fmla="*/ 45768 h 203203"/>
                    <a:gd name="connsiteX25" fmla="*/ 219961 w 241504"/>
                    <a:gd name="connsiteY25" fmla="*/ 42273 h 203203"/>
                    <a:gd name="connsiteX26" fmla="*/ 240215 w 241504"/>
                    <a:gd name="connsiteY26" fmla="*/ 12464 h 203203"/>
                    <a:gd name="connsiteX27" fmla="*/ 238100 w 241504"/>
                    <a:gd name="connsiteY27" fmla="*/ 1380 h 203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241504" h="203203">
                      <a:moveTo>
                        <a:pt x="238100" y="1380"/>
                      </a:moveTo>
                      <a:cubicBezTo>
                        <a:pt x="234454" y="-1097"/>
                        <a:pt x="229492" y="-149"/>
                        <a:pt x="227015" y="3496"/>
                      </a:cubicBezTo>
                      <a:lnTo>
                        <a:pt x="209136" y="29810"/>
                      </a:lnTo>
                      <a:lnTo>
                        <a:pt x="181875" y="29810"/>
                      </a:lnTo>
                      <a:cubicBezTo>
                        <a:pt x="178906" y="29810"/>
                        <a:pt x="176183" y="31459"/>
                        <a:pt x="174806" y="34088"/>
                      </a:cubicBezTo>
                      <a:lnTo>
                        <a:pt x="146243" y="88648"/>
                      </a:lnTo>
                      <a:lnTo>
                        <a:pt x="119688" y="88648"/>
                      </a:lnTo>
                      <a:cubicBezTo>
                        <a:pt x="116775" y="88648"/>
                        <a:pt x="114094" y="90236"/>
                        <a:pt x="112693" y="92789"/>
                      </a:cubicBezTo>
                      <a:lnTo>
                        <a:pt x="82516" y="147797"/>
                      </a:lnTo>
                      <a:lnTo>
                        <a:pt x="55854" y="147797"/>
                      </a:lnTo>
                      <a:cubicBezTo>
                        <a:pt x="53227" y="147797"/>
                        <a:pt x="50769" y="149090"/>
                        <a:pt x="49280" y="151255"/>
                      </a:cubicBezTo>
                      <a:lnTo>
                        <a:pt x="24529" y="187246"/>
                      </a:lnTo>
                      <a:lnTo>
                        <a:pt x="7979" y="187246"/>
                      </a:lnTo>
                      <a:cubicBezTo>
                        <a:pt x="3573" y="187246"/>
                        <a:pt x="0" y="190819"/>
                        <a:pt x="0" y="195225"/>
                      </a:cubicBezTo>
                      <a:cubicBezTo>
                        <a:pt x="0" y="199632"/>
                        <a:pt x="3573" y="203205"/>
                        <a:pt x="7979" y="203205"/>
                      </a:cubicBezTo>
                      <a:lnTo>
                        <a:pt x="28725" y="203205"/>
                      </a:lnTo>
                      <a:cubicBezTo>
                        <a:pt x="31352" y="203205"/>
                        <a:pt x="33811" y="201911"/>
                        <a:pt x="35299" y="199747"/>
                      </a:cubicBezTo>
                      <a:lnTo>
                        <a:pt x="60051" y="163755"/>
                      </a:lnTo>
                      <a:lnTo>
                        <a:pt x="87239" y="163755"/>
                      </a:lnTo>
                      <a:cubicBezTo>
                        <a:pt x="90152" y="163755"/>
                        <a:pt x="92834" y="162168"/>
                        <a:pt x="94235" y="159614"/>
                      </a:cubicBezTo>
                      <a:lnTo>
                        <a:pt x="124412" y="104607"/>
                      </a:lnTo>
                      <a:lnTo>
                        <a:pt x="151073" y="104607"/>
                      </a:lnTo>
                      <a:cubicBezTo>
                        <a:pt x="154042" y="104607"/>
                        <a:pt x="156765" y="102958"/>
                        <a:pt x="158142" y="100328"/>
                      </a:cubicBezTo>
                      <a:lnTo>
                        <a:pt x="186704" y="45768"/>
                      </a:lnTo>
                      <a:lnTo>
                        <a:pt x="213361" y="45768"/>
                      </a:lnTo>
                      <a:cubicBezTo>
                        <a:pt x="216005" y="45768"/>
                        <a:pt x="218476" y="44459"/>
                        <a:pt x="219961" y="42273"/>
                      </a:cubicBezTo>
                      <a:lnTo>
                        <a:pt x="240215" y="12464"/>
                      </a:lnTo>
                      <a:cubicBezTo>
                        <a:pt x="242692" y="8819"/>
                        <a:pt x="241745" y="3857"/>
                        <a:pt x="238100" y="138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52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1" name="Freeform: Shape 150">
                  <a:extLst>
                    <a:ext uri="{FF2B5EF4-FFF2-40B4-BE49-F238E27FC236}">
                      <a16:creationId xmlns:a16="http://schemas.microsoft.com/office/drawing/2014/main" id="{34AF35C9-C6C1-4D76-A274-2F796F947036}"/>
                    </a:ext>
                  </a:extLst>
                </p:cNvPr>
                <p:cNvSpPr/>
                <p:nvPr/>
              </p:nvSpPr>
              <p:spPr>
                <a:xfrm>
                  <a:off x="9392892" y="2815550"/>
                  <a:ext cx="191763" cy="298831"/>
                </a:xfrm>
                <a:custGeom>
                  <a:avLst/>
                  <a:gdLst>
                    <a:gd name="connsiteX0" fmla="*/ 184933 w 196746"/>
                    <a:gd name="connsiteY0" fmla="*/ 0 h 306595"/>
                    <a:gd name="connsiteX1" fmla="*/ 0 w 196746"/>
                    <a:gd name="connsiteY1" fmla="*/ 184931 h 306595"/>
                    <a:gd name="connsiteX2" fmla="*/ 45752 w 196746"/>
                    <a:gd name="connsiteY2" fmla="*/ 306723 h 306595"/>
                    <a:gd name="connsiteX3" fmla="*/ 197230 w 196746"/>
                    <a:gd name="connsiteY3" fmla="*/ 155247 h 306595"/>
                    <a:gd name="connsiteX4" fmla="*/ 197230 w 196746"/>
                    <a:gd name="connsiteY4" fmla="*/ 12297 h 306595"/>
                    <a:gd name="connsiteX5" fmla="*/ 184933 w 196746"/>
                    <a:gd name="connsiteY5" fmla="*/ 0 h 3065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6746" h="306595">
                      <a:moveTo>
                        <a:pt x="184933" y="0"/>
                      </a:moveTo>
                      <a:cubicBezTo>
                        <a:pt x="82724" y="0"/>
                        <a:pt x="0" y="82706"/>
                        <a:pt x="0" y="184931"/>
                      </a:cubicBezTo>
                      <a:cubicBezTo>
                        <a:pt x="0" y="230214"/>
                        <a:pt x="16158" y="273007"/>
                        <a:pt x="45752" y="306723"/>
                      </a:cubicBezTo>
                      <a:cubicBezTo>
                        <a:pt x="46755" y="305720"/>
                        <a:pt x="195756" y="156721"/>
                        <a:pt x="197230" y="155247"/>
                      </a:cubicBezTo>
                      <a:cubicBezTo>
                        <a:pt x="197230" y="137621"/>
                        <a:pt x="197230" y="30114"/>
                        <a:pt x="197230" y="12297"/>
                      </a:cubicBezTo>
                      <a:cubicBezTo>
                        <a:pt x="197230" y="5509"/>
                        <a:pt x="191721" y="0"/>
                        <a:pt x="184933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2" name="Freeform: Shape 151">
                  <a:extLst>
                    <a:ext uri="{FF2B5EF4-FFF2-40B4-BE49-F238E27FC236}">
                      <a16:creationId xmlns:a16="http://schemas.microsoft.com/office/drawing/2014/main" id="{171BD105-5F94-4280-B693-ACE0FBE0A23D}"/>
                    </a:ext>
                  </a:extLst>
                </p:cNvPr>
                <p:cNvSpPr/>
                <p:nvPr/>
              </p:nvSpPr>
              <p:spPr>
                <a:xfrm>
                  <a:off x="9454440" y="3007838"/>
                  <a:ext cx="123047" cy="167793"/>
                </a:xfrm>
                <a:custGeom>
                  <a:avLst/>
                  <a:gdLst>
                    <a:gd name="connsiteX0" fmla="*/ 126819 w 126245"/>
                    <a:gd name="connsiteY0" fmla="*/ 172502 h 172152"/>
                    <a:gd name="connsiteX1" fmla="*/ 126819 w 126245"/>
                    <a:gd name="connsiteY1" fmla="*/ 0 h 172152"/>
                    <a:gd name="connsiteX2" fmla="*/ 0 w 126245"/>
                    <a:gd name="connsiteY2" fmla="*/ 126825 h 172152"/>
                    <a:gd name="connsiteX3" fmla="*/ 126819 w 126245"/>
                    <a:gd name="connsiteY3" fmla="*/ 172502 h 1721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6245" h="172152">
                      <a:moveTo>
                        <a:pt x="126819" y="172502"/>
                      </a:moveTo>
                      <a:lnTo>
                        <a:pt x="126819" y="0"/>
                      </a:lnTo>
                      <a:lnTo>
                        <a:pt x="0" y="126825"/>
                      </a:lnTo>
                      <a:cubicBezTo>
                        <a:pt x="35933" y="158363"/>
                        <a:pt x="81336" y="173842"/>
                        <a:pt x="126819" y="17250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2B2E23F6-60F4-47C9-8FBB-5B62DC186114}"/>
                    </a:ext>
                  </a:extLst>
                </p:cNvPr>
                <p:cNvSpPr/>
                <p:nvPr/>
              </p:nvSpPr>
              <p:spPr>
                <a:xfrm>
                  <a:off x="9602018" y="2983812"/>
                  <a:ext cx="151014" cy="189366"/>
                </a:xfrm>
                <a:custGeom>
                  <a:avLst/>
                  <a:gdLst>
                    <a:gd name="connsiteX0" fmla="*/ 143010 w 154937"/>
                    <a:gd name="connsiteY0" fmla="*/ 0 h 194286"/>
                    <a:gd name="connsiteX1" fmla="*/ 57 w 154937"/>
                    <a:gd name="connsiteY1" fmla="*/ 0 h 194286"/>
                    <a:gd name="connsiteX2" fmla="*/ 0 w 154937"/>
                    <a:gd name="connsiteY2" fmla="*/ 194874 h 194286"/>
                    <a:gd name="connsiteX3" fmla="*/ 101136 w 154937"/>
                    <a:gd name="connsiteY3" fmla="*/ 143065 h 194286"/>
                    <a:gd name="connsiteX4" fmla="*/ 155306 w 154937"/>
                    <a:gd name="connsiteY4" fmla="*/ 12296 h 194286"/>
                    <a:gd name="connsiteX5" fmla="*/ 143010 w 154937"/>
                    <a:gd name="connsiteY5" fmla="*/ 0 h 194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4937" h="194286">
                      <a:moveTo>
                        <a:pt x="143010" y="0"/>
                      </a:moveTo>
                      <a:lnTo>
                        <a:pt x="57" y="0"/>
                      </a:lnTo>
                      <a:lnTo>
                        <a:pt x="0" y="194874"/>
                      </a:lnTo>
                      <a:cubicBezTo>
                        <a:pt x="38000" y="188803"/>
                        <a:pt x="73231" y="170983"/>
                        <a:pt x="101136" y="143065"/>
                      </a:cubicBezTo>
                      <a:cubicBezTo>
                        <a:pt x="136066" y="108135"/>
                        <a:pt x="155306" y="61695"/>
                        <a:pt x="155306" y="12296"/>
                      </a:cubicBezTo>
                      <a:cubicBezTo>
                        <a:pt x="155306" y="5509"/>
                        <a:pt x="149798" y="0"/>
                        <a:pt x="14301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40B19DFF-624D-4E69-8CE5-1C8E3B1CECAC}"/>
                    </a:ext>
                  </a:extLst>
                </p:cNvPr>
                <p:cNvSpPr/>
                <p:nvPr/>
              </p:nvSpPr>
              <p:spPr>
                <a:xfrm>
                  <a:off x="9609751" y="2766955"/>
                  <a:ext cx="191763" cy="191763"/>
                </a:xfrm>
                <a:custGeom>
                  <a:avLst/>
                  <a:gdLst>
                    <a:gd name="connsiteX0" fmla="*/ 143060 w 196746"/>
                    <a:gd name="connsiteY0" fmla="*/ 54170 h 196746"/>
                    <a:gd name="connsiteX1" fmla="*/ 12297 w 196746"/>
                    <a:gd name="connsiteY1" fmla="*/ 0 h 196746"/>
                    <a:gd name="connsiteX2" fmla="*/ 0 w 196746"/>
                    <a:gd name="connsiteY2" fmla="*/ 12297 h 196746"/>
                    <a:gd name="connsiteX3" fmla="*/ 0 w 196746"/>
                    <a:gd name="connsiteY3" fmla="*/ 184931 h 196746"/>
                    <a:gd name="connsiteX4" fmla="*/ 12297 w 196746"/>
                    <a:gd name="connsiteY4" fmla="*/ 197227 h 196746"/>
                    <a:gd name="connsiteX5" fmla="*/ 184935 w 196746"/>
                    <a:gd name="connsiteY5" fmla="*/ 197227 h 196746"/>
                    <a:gd name="connsiteX6" fmla="*/ 197231 w 196746"/>
                    <a:gd name="connsiteY6" fmla="*/ 184931 h 196746"/>
                    <a:gd name="connsiteX7" fmla="*/ 143060 w 196746"/>
                    <a:gd name="connsiteY7" fmla="*/ 54170 h 196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96746" h="196746">
                      <a:moveTo>
                        <a:pt x="143060" y="54170"/>
                      </a:moveTo>
                      <a:cubicBezTo>
                        <a:pt x="108129" y="19240"/>
                        <a:pt x="61689" y="0"/>
                        <a:pt x="12297" y="0"/>
                      </a:cubicBezTo>
                      <a:cubicBezTo>
                        <a:pt x="5501" y="0"/>
                        <a:pt x="0" y="5509"/>
                        <a:pt x="0" y="12297"/>
                      </a:cubicBezTo>
                      <a:lnTo>
                        <a:pt x="0" y="184931"/>
                      </a:lnTo>
                      <a:cubicBezTo>
                        <a:pt x="0" y="191704"/>
                        <a:pt x="5479" y="197227"/>
                        <a:pt x="12297" y="197227"/>
                      </a:cubicBezTo>
                      <a:lnTo>
                        <a:pt x="184935" y="197227"/>
                      </a:lnTo>
                      <a:cubicBezTo>
                        <a:pt x="191723" y="197227"/>
                        <a:pt x="197231" y="191727"/>
                        <a:pt x="197231" y="184931"/>
                      </a:cubicBezTo>
                      <a:cubicBezTo>
                        <a:pt x="197231" y="135539"/>
                        <a:pt x="177991" y="89100"/>
                        <a:pt x="143060" y="5417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99" name="Group 198">
                <a:extLst>
                  <a:ext uri="{FF2B5EF4-FFF2-40B4-BE49-F238E27FC236}">
                    <a16:creationId xmlns:a16="http://schemas.microsoft.com/office/drawing/2014/main" id="{ECCEA826-A659-4D9E-8848-AE930CF08A4F}"/>
                  </a:ext>
                </a:extLst>
              </p:cNvPr>
              <p:cNvGrpSpPr/>
              <p:nvPr/>
            </p:nvGrpSpPr>
            <p:grpSpPr>
              <a:xfrm>
                <a:off x="5223310" y="2030151"/>
                <a:ext cx="3047292" cy="1029412"/>
                <a:chOff x="8437398" y="1656532"/>
                <a:chExt cx="3047292" cy="1029412"/>
              </a:xfrm>
            </p:grpSpPr>
            <p:sp>
              <p:nvSpPr>
                <p:cNvPr id="200" name="TextBox 199">
                  <a:extLst>
                    <a:ext uri="{FF2B5EF4-FFF2-40B4-BE49-F238E27FC236}">
                      <a16:creationId xmlns:a16="http://schemas.microsoft.com/office/drawing/2014/main" id="{17DD563B-8E02-4D6F-9148-A9C924608704}"/>
                    </a:ext>
                  </a:extLst>
                </p:cNvPr>
                <p:cNvSpPr txBox="1"/>
                <p:nvPr/>
              </p:nvSpPr>
              <p:spPr>
                <a:xfrm rot="20700000" flipH="1">
                  <a:off x="8437398" y="1701005"/>
                  <a:ext cx="671242" cy="702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40000"/>
                    </a:lnSpc>
                  </a:pPr>
                  <a:r>
                    <a:rPr lang="en-US" sz="3200" b="1" spc="-150" dirty="0">
                      <a:solidFill>
                        <a:schemeClr val="accent3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1</a:t>
                  </a:r>
                </a:p>
              </p:txBody>
            </p:sp>
            <p:sp>
              <p:nvSpPr>
                <p:cNvPr id="201" name="TextBox 200">
                  <a:extLst>
                    <a:ext uri="{FF2B5EF4-FFF2-40B4-BE49-F238E27FC236}">
                      <a16:creationId xmlns:a16="http://schemas.microsoft.com/office/drawing/2014/main" id="{09FD6364-077E-4B6A-8EA8-9541D2903BB7}"/>
                    </a:ext>
                  </a:extLst>
                </p:cNvPr>
                <p:cNvSpPr txBox="1"/>
                <p:nvPr/>
              </p:nvSpPr>
              <p:spPr>
                <a:xfrm>
                  <a:off x="9404968" y="1716768"/>
                  <a:ext cx="2079722" cy="9691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4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Lorem ipsum dolor sit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amet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,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consectetur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adipiscing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elit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, </a:t>
                  </a:r>
                </a:p>
              </p:txBody>
            </p:sp>
            <p:cxnSp>
              <p:nvCxnSpPr>
                <p:cNvPr id="202" name="Straight Connector 201">
                  <a:extLst>
                    <a:ext uri="{FF2B5EF4-FFF2-40B4-BE49-F238E27FC236}">
                      <a16:creationId xmlns:a16="http://schemas.microsoft.com/office/drawing/2014/main" id="{0A135E01-5E28-4BC5-B62C-598C41E108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2040" y="1656532"/>
                  <a:ext cx="0" cy="877111"/>
                </a:xfrm>
                <a:prstGeom prst="line">
                  <a:avLst/>
                </a:prstGeom>
                <a:ln>
                  <a:solidFill>
                    <a:schemeClr val="bg1">
                      <a:lumMod val="50000"/>
                      <a:alpha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3" name="Rectangle: Rounded Corners 202">
                  <a:extLst>
                    <a:ext uri="{FF2B5EF4-FFF2-40B4-BE49-F238E27FC236}">
                      <a16:creationId xmlns:a16="http://schemas.microsoft.com/office/drawing/2014/main" id="{2EF86302-86F3-4359-9085-63BAB1EFC570}"/>
                    </a:ext>
                  </a:extLst>
                </p:cNvPr>
                <p:cNvSpPr/>
                <p:nvPr/>
              </p:nvSpPr>
              <p:spPr>
                <a:xfrm>
                  <a:off x="9199181" y="1842290"/>
                  <a:ext cx="45719" cy="50559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accent3"/>
                    </a:solidFill>
                  </a:endParaRPr>
                </a:p>
              </p:txBody>
            </p:sp>
          </p:grpSp>
          <p:grpSp>
            <p:nvGrpSpPr>
              <p:cNvPr id="204" name="Group 203">
                <a:extLst>
                  <a:ext uri="{FF2B5EF4-FFF2-40B4-BE49-F238E27FC236}">
                    <a16:creationId xmlns:a16="http://schemas.microsoft.com/office/drawing/2014/main" id="{62A08C25-00EB-4648-8B4D-E7E1BF8A9039}"/>
                  </a:ext>
                </a:extLst>
              </p:cNvPr>
              <p:cNvGrpSpPr/>
              <p:nvPr/>
            </p:nvGrpSpPr>
            <p:grpSpPr>
              <a:xfrm>
                <a:off x="4011463" y="3439649"/>
                <a:ext cx="3047292" cy="1029412"/>
                <a:chOff x="8437398" y="1656532"/>
                <a:chExt cx="3047292" cy="1029412"/>
              </a:xfrm>
            </p:grpSpPr>
            <p:sp>
              <p:nvSpPr>
                <p:cNvPr id="205" name="TextBox 204">
                  <a:extLst>
                    <a:ext uri="{FF2B5EF4-FFF2-40B4-BE49-F238E27FC236}">
                      <a16:creationId xmlns:a16="http://schemas.microsoft.com/office/drawing/2014/main" id="{64733666-E251-45F9-9DCC-835E10557C68}"/>
                    </a:ext>
                  </a:extLst>
                </p:cNvPr>
                <p:cNvSpPr txBox="1"/>
                <p:nvPr/>
              </p:nvSpPr>
              <p:spPr>
                <a:xfrm rot="20700000" flipH="1">
                  <a:off x="8437398" y="1701005"/>
                  <a:ext cx="671242" cy="702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40000"/>
                    </a:lnSpc>
                  </a:pPr>
                  <a:r>
                    <a:rPr lang="en-US" sz="3200" b="1" spc="-150" dirty="0">
                      <a:solidFill>
                        <a:schemeClr val="accent2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2</a:t>
                  </a:r>
                </a:p>
              </p:txBody>
            </p:sp>
            <p:sp>
              <p:nvSpPr>
                <p:cNvPr id="206" name="TextBox 205">
                  <a:extLst>
                    <a:ext uri="{FF2B5EF4-FFF2-40B4-BE49-F238E27FC236}">
                      <a16:creationId xmlns:a16="http://schemas.microsoft.com/office/drawing/2014/main" id="{5594CCC4-6E9E-4770-BEEE-7D5E217B8E67}"/>
                    </a:ext>
                  </a:extLst>
                </p:cNvPr>
                <p:cNvSpPr txBox="1"/>
                <p:nvPr/>
              </p:nvSpPr>
              <p:spPr>
                <a:xfrm>
                  <a:off x="9404968" y="1716768"/>
                  <a:ext cx="2079722" cy="9691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4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Lorem ipsum dolor sit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amet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,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consectetur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adipiscing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elit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, </a:t>
                  </a:r>
                </a:p>
              </p:txBody>
            </p:sp>
            <p:cxnSp>
              <p:nvCxnSpPr>
                <p:cNvPr id="207" name="Straight Connector 206">
                  <a:extLst>
                    <a:ext uri="{FF2B5EF4-FFF2-40B4-BE49-F238E27FC236}">
                      <a16:creationId xmlns:a16="http://schemas.microsoft.com/office/drawing/2014/main" id="{B94F09A6-71C0-4CF1-9C36-5560B7DB7F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2040" y="1656532"/>
                  <a:ext cx="0" cy="877111"/>
                </a:xfrm>
                <a:prstGeom prst="line">
                  <a:avLst/>
                </a:prstGeom>
                <a:ln>
                  <a:solidFill>
                    <a:schemeClr val="bg1">
                      <a:lumMod val="50000"/>
                      <a:alpha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8" name="Rectangle: Rounded Corners 207">
                  <a:extLst>
                    <a:ext uri="{FF2B5EF4-FFF2-40B4-BE49-F238E27FC236}">
                      <a16:creationId xmlns:a16="http://schemas.microsoft.com/office/drawing/2014/main" id="{E486FF1A-6B71-48F6-886F-24C88F8BCB4A}"/>
                    </a:ext>
                  </a:extLst>
                </p:cNvPr>
                <p:cNvSpPr/>
                <p:nvPr/>
              </p:nvSpPr>
              <p:spPr>
                <a:xfrm>
                  <a:off x="9199181" y="1842290"/>
                  <a:ext cx="45719" cy="50559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accent3"/>
                    </a:solidFill>
                  </a:endParaRPr>
                </a:p>
              </p:txBody>
            </p:sp>
          </p:grpSp>
          <p:grpSp>
            <p:nvGrpSpPr>
              <p:cNvPr id="209" name="Group 208">
                <a:extLst>
                  <a:ext uri="{FF2B5EF4-FFF2-40B4-BE49-F238E27FC236}">
                    <a16:creationId xmlns:a16="http://schemas.microsoft.com/office/drawing/2014/main" id="{DC5D5D40-3CE4-49A8-8727-AB0BE41F02E3}"/>
                  </a:ext>
                </a:extLst>
              </p:cNvPr>
              <p:cNvGrpSpPr/>
              <p:nvPr/>
            </p:nvGrpSpPr>
            <p:grpSpPr>
              <a:xfrm>
                <a:off x="3158553" y="4858932"/>
                <a:ext cx="3020666" cy="1029412"/>
                <a:chOff x="8437398" y="1656532"/>
                <a:chExt cx="3020666" cy="1029412"/>
              </a:xfrm>
            </p:grpSpPr>
            <p:sp>
              <p:nvSpPr>
                <p:cNvPr id="210" name="TextBox 209">
                  <a:extLst>
                    <a:ext uri="{FF2B5EF4-FFF2-40B4-BE49-F238E27FC236}">
                      <a16:creationId xmlns:a16="http://schemas.microsoft.com/office/drawing/2014/main" id="{F8794673-0578-43FC-ADB6-05F187A97974}"/>
                    </a:ext>
                  </a:extLst>
                </p:cNvPr>
                <p:cNvSpPr txBox="1"/>
                <p:nvPr/>
              </p:nvSpPr>
              <p:spPr>
                <a:xfrm rot="20700000" flipH="1">
                  <a:off x="8437398" y="1701005"/>
                  <a:ext cx="671242" cy="702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40000"/>
                    </a:lnSpc>
                  </a:pPr>
                  <a:r>
                    <a:rPr lang="en-US" sz="3200" b="1" spc="-150" dirty="0">
                      <a:solidFill>
                        <a:schemeClr val="accent1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03</a:t>
                  </a:r>
                </a:p>
              </p:txBody>
            </p:sp>
            <p:sp>
              <p:nvSpPr>
                <p:cNvPr id="211" name="TextBox 210">
                  <a:extLst>
                    <a:ext uri="{FF2B5EF4-FFF2-40B4-BE49-F238E27FC236}">
                      <a16:creationId xmlns:a16="http://schemas.microsoft.com/office/drawing/2014/main" id="{186EA671-436D-4B56-8131-17A95C3592B3}"/>
                    </a:ext>
                  </a:extLst>
                </p:cNvPr>
                <p:cNvSpPr txBox="1"/>
                <p:nvPr/>
              </p:nvSpPr>
              <p:spPr>
                <a:xfrm>
                  <a:off x="9404968" y="1716768"/>
                  <a:ext cx="2053096" cy="96917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40000"/>
                    </a:lnSpc>
                  </a:pP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Lorem ipsum dolor sit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amet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,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consectetur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adipiscing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 </a:t>
                  </a:r>
                  <a:r>
                    <a:rPr lang="en-US" sz="1400" dirty="0" err="1">
                      <a:solidFill>
                        <a:schemeClr val="bg1"/>
                      </a:solidFill>
                      <a:latin typeface="+mj-lt"/>
                    </a:rPr>
                    <a:t>elit</a:t>
                  </a:r>
                  <a:r>
                    <a:rPr lang="en-US" sz="1400" dirty="0">
                      <a:solidFill>
                        <a:schemeClr val="bg1"/>
                      </a:solidFill>
                      <a:latin typeface="+mj-lt"/>
                    </a:rPr>
                    <a:t>, </a:t>
                  </a:r>
                </a:p>
              </p:txBody>
            </p:sp>
            <p:cxnSp>
              <p:nvCxnSpPr>
                <p:cNvPr id="212" name="Straight Connector 211">
                  <a:extLst>
                    <a:ext uri="{FF2B5EF4-FFF2-40B4-BE49-F238E27FC236}">
                      <a16:creationId xmlns:a16="http://schemas.microsoft.com/office/drawing/2014/main" id="{8D36BCC0-EAFA-4230-9D2B-FB740E835F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22040" y="1656532"/>
                  <a:ext cx="0" cy="877111"/>
                </a:xfrm>
                <a:prstGeom prst="line">
                  <a:avLst/>
                </a:prstGeom>
                <a:ln>
                  <a:solidFill>
                    <a:schemeClr val="bg1">
                      <a:lumMod val="50000"/>
                      <a:alpha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3" name="Rectangle: Rounded Corners 212">
                  <a:extLst>
                    <a:ext uri="{FF2B5EF4-FFF2-40B4-BE49-F238E27FC236}">
                      <a16:creationId xmlns:a16="http://schemas.microsoft.com/office/drawing/2014/main" id="{C1C56DFD-CC0E-4571-A7E4-6D8996C1B283}"/>
                    </a:ext>
                  </a:extLst>
                </p:cNvPr>
                <p:cNvSpPr/>
                <p:nvPr/>
              </p:nvSpPr>
              <p:spPr>
                <a:xfrm>
                  <a:off x="9199181" y="1842290"/>
                  <a:ext cx="45719" cy="50559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accent1"/>
                    </a:solidFill>
                  </a:endParaRPr>
                </a:p>
              </p:txBody>
            </p:sp>
          </p:grpSp>
        </p:grp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A9CA7DE6-0E0A-47E5-BFCC-4A53CDF561C9}"/>
                </a:ext>
              </a:extLst>
            </p:cNvPr>
            <p:cNvSpPr txBox="1"/>
            <p:nvPr/>
          </p:nvSpPr>
          <p:spPr>
            <a:xfrm>
              <a:off x="1003068" y="1025202"/>
              <a:ext cx="4829346" cy="14465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 Steps 3D Arrow Infographic</a:t>
              </a:r>
              <a:endParaRPr lang="en-ID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B0FC19EA-E132-4D13-B587-65D84365FF25}"/>
                </a:ext>
              </a:extLst>
            </p:cNvPr>
            <p:cNvSpPr txBox="1"/>
            <p:nvPr/>
          </p:nvSpPr>
          <p:spPr>
            <a:xfrm>
              <a:off x="1003068" y="2570238"/>
              <a:ext cx="3214480" cy="1270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1400" dirty="0">
                  <a:solidFill>
                    <a:schemeClr val="bg1"/>
                  </a:solidFill>
                  <a:latin typeface="+mj-lt"/>
                </a:rPr>
                <a:t>Lorem Ipsum is simply dummy text of the printing and typesetting industry. Lorem Ipsum has been the industry's standard dummy text ever since the 1500s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41114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883A2E7-1686-4B49-84E9-2CBF6A6BD319}"/>
              </a:ext>
            </a:extLst>
          </p:cNvPr>
          <p:cNvGrpSpPr/>
          <p:nvPr/>
        </p:nvGrpSpPr>
        <p:grpSpPr>
          <a:xfrm>
            <a:off x="1344699" y="772986"/>
            <a:ext cx="9125412" cy="5312027"/>
            <a:chOff x="976210" y="907766"/>
            <a:chExt cx="9125412" cy="5312027"/>
          </a:xfrm>
        </p:grpSpPr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2377BF6-F904-498B-B1BA-36B4E0316976}"/>
                </a:ext>
              </a:extLst>
            </p:cNvPr>
            <p:cNvSpPr txBox="1"/>
            <p:nvPr/>
          </p:nvSpPr>
          <p:spPr>
            <a:xfrm>
              <a:off x="976210" y="907766"/>
              <a:ext cx="3751957" cy="212365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 Options 3D Circular Process </a:t>
              </a:r>
              <a:endParaRPr lang="en-ID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3B7F193-4592-4AAE-A4C7-2FC7FAD2C0BD}"/>
                </a:ext>
              </a:extLst>
            </p:cNvPr>
            <p:cNvGrpSpPr/>
            <p:nvPr/>
          </p:nvGrpSpPr>
          <p:grpSpPr>
            <a:xfrm>
              <a:off x="3563556" y="1885378"/>
              <a:ext cx="4564578" cy="3749300"/>
              <a:chOff x="4183239" y="2170344"/>
              <a:chExt cx="3645179" cy="2994114"/>
            </a:xfrm>
          </p:grpSpPr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BEBCA4BD-7834-450F-85C0-0739CB5048BE}"/>
                  </a:ext>
                </a:extLst>
              </p:cNvPr>
              <p:cNvGrpSpPr/>
              <p:nvPr/>
            </p:nvGrpSpPr>
            <p:grpSpPr>
              <a:xfrm>
                <a:off x="4183239" y="3748293"/>
                <a:ext cx="1661145" cy="151945"/>
                <a:chOff x="7570060" y="3408258"/>
                <a:chExt cx="1661145" cy="151945"/>
              </a:xfrm>
            </p:grpSpPr>
            <p:cxnSp>
              <p:nvCxnSpPr>
                <p:cNvPr id="82" name="Straight Connector 81">
                  <a:extLst>
                    <a:ext uri="{FF2B5EF4-FFF2-40B4-BE49-F238E27FC236}">
                      <a16:creationId xmlns:a16="http://schemas.microsoft.com/office/drawing/2014/main" id="{1813DF30-874E-411F-85E4-FD7FA7ACC1E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82265" y="3484231"/>
                  <a:ext cx="1548940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Oval 83">
                  <a:extLst>
                    <a:ext uri="{FF2B5EF4-FFF2-40B4-BE49-F238E27FC236}">
                      <a16:creationId xmlns:a16="http://schemas.microsoft.com/office/drawing/2014/main" id="{4BEE5445-210A-4997-9E41-91A57F351B58}"/>
                    </a:ext>
                  </a:extLst>
                </p:cNvPr>
                <p:cNvSpPr/>
                <p:nvPr/>
              </p:nvSpPr>
              <p:spPr>
                <a:xfrm>
                  <a:off x="7570060" y="3408258"/>
                  <a:ext cx="151945" cy="151945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solidFill>
                    <a:schemeClr val="bg1"/>
                  </a:solidFill>
                </a:ln>
                <a:effectLst>
                  <a:outerShdw blurRad="203200" dist="76200" dir="10260000" algn="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1D1FA514-31FE-4DAD-901F-2342C2A20A82}"/>
                  </a:ext>
                </a:extLst>
              </p:cNvPr>
              <p:cNvGrpSpPr/>
              <p:nvPr/>
            </p:nvGrpSpPr>
            <p:grpSpPr>
              <a:xfrm flipH="1" flipV="1">
                <a:off x="6826151" y="4544623"/>
                <a:ext cx="1002267" cy="619835"/>
                <a:chOff x="8228938" y="3416206"/>
                <a:chExt cx="1002267" cy="619835"/>
              </a:xfrm>
            </p:grpSpPr>
            <p:cxnSp>
              <p:nvCxnSpPr>
                <p:cNvPr id="77" name="Straight Connector 76">
                  <a:extLst>
                    <a:ext uri="{FF2B5EF4-FFF2-40B4-BE49-F238E27FC236}">
                      <a16:creationId xmlns:a16="http://schemas.microsoft.com/office/drawing/2014/main" id="{BCC21048-EBAC-436C-A300-65D73A7880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8346537" y="3484231"/>
                  <a:ext cx="884668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Connector 74">
                  <a:extLst>
                    <a:ext uri="{FF2B5EF4-FFF2-40B4-BE49-F238E27FC236}">
                      <a16:creationId xmlns:a16="http://schemas.microsoft.com/office/drawing/2014/main" id="{4F31A73D-D071-40D7-A9F5-3FFD0BA900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31205" y="3484231"/>
                  <a:ext cx="0" cy="55181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357025D9-CBED-422F-8666-5C103CEB56BA}"/>
                    </a:ext>
                  </a:extLst>
                </p:cNvPr>
                <p:cNvSpPr/>
                <p:nvPr/>
              </p:nvSpPr>
              <p:spPr>
                <a:xfrm>
                  <a:off x="8228938" y="3416206"/>
                  <a:ext cx="151945" cy="151945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solidFill>
                    <a:schemeClr val="bg1"/>
                  </a:solidFill>
                </a:ln>
                <a:effectLst>
                  <a:outerShdw blurRad="203200" dist="76200" dir="10260000" algn="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6A62051D-D398-4F8F-86D1-43A88BE0534D}"/>
                  </a:ext>
                </a:extLst>
              </p:cNvPr>
              <p:cNvGrpSpPr/>
              <p:nvPr/>
            </p:nvGrpSpPr>
            <p:grpSpPr>
              <a:xfrm flipH="1">
                <a:off x="6826151" y="2376850"/>
                <a:ext cx="999182" cy="627784"/>
                <a:chOff x="8232023" y="3408257"/>
                <a:chExt cx="999182" cy="627784"/>
              </a:xfrm>
            </p:grpSpPr>
            <p:cxnSp>
              <p:nvCxnSpPr>
                <p:cNvPr id="86" name="Straight Connector 85">
                  <a:extLst>
                    <a:ext uri="{FF2B5EF4-FFF2-40B4-BE49-F238E27FC236}">
                      <a16:creationId xmlns:a16="http://schemas.microsoft.com/office/drawing/2014/main" id="{20ACFFC9-195D-440D-BE73-87C9ECAC35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8346537" y="3484230"/>
                  <a:ext cx="884668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86">
                  <a:extLst>
                    <a:ext uri="{FF2B5EF4-FFF2-40B4-BE49-F238E27FC236}">
                      <a16:creationId xmlns:a16="http://schemas.microsoft.com/office/drawing/2014/main" id="{F6CDCC82-DDE8-4417-8B58-D3553A7770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231205" y="3484231"/>
                  <a:ext cx="0" cy="551810"/>
                </a:xfrm>
                <a:prstGeom prst="line">
                  <a:avLst/>
                </a:prstGeom>
                <a:ln w="12700">
                  <a:solidFill>
                    <a:schemeClr val="bg1">
                      <a:lumMod val="75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8" name="Oval 87">
                  <a:extLst>
                    <a:ext uri="{FF2B5EF4-FFF2-40B4-BE49-F238E27FC236}">
                      <a16:creationId xmlns:a16="http://schemas.microsoft.com/office/drawing/2014/main" id="{A56265C0-AE0D-4537-9733-EB3A0F276582}"/>
                    </a:ext>
                  </a:extLst>
                </p:cNvPr>
                <p:cNvSpPr/>
                <p:nvPr/>
              </p:nvSpPr>
              <p:spPr>
                <a:xfrm>
                  <a:off x="8232023" y="3408257"/>
                  <a:ext cx="151945" cy="151945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solidFill>
                    <a:schemeClr val="bg1"/>
                  </a:solidFill>
                </a:ln>
                <a:effectLst>
                  <a:outerShdw blurRad="203200" dist="76200" dir="10260000" algn="tr" rotWithShape="0">
                    <a:prstClr val="black">
                      <a:alpha val="1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6480E17B-9484-4D82-ABDC-9955AC96AF1A}"/>
                  </a:ext>
                </a:extLst>
              </p:cNvPr>
              <p:cNvGrpSpPr/>
              <p:nvPr/>
            </p:nvGrpSpPr>
            <p:grpSpPr>
              <a:xfrm>
                <a:off x="4743157" y="2170344"/>
                <a:ext cx="2728963" cy="2805737"/>
                <a:chOff x="4338217" y="2165126"/>
                <a:chExt cx="2770188" cy="2848121"/>
              </a:xfrm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32" name="Freeform 128">
                  <a:extLst>
                    <a:ext uri="{FF2B5EF4-FFF2-40B4-BE49-F238E27FC236}">
                      <a16:creationId xmlns:a16="http://schemas.microsoft.com/office/drawing/2014/main" id="{41C7EE73-FFB4-4BBD-B597-A8B6C3957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67557" y="2614935"/>
                  <a:ext cx="1717612" cy="1447811"/>
                </a:xfrm>
                <a:custGeom>
                  <a:avLst/>
                  <a:gdLst>
                    <a:gd name="connsiteX0" fmla="*/ 501337 w 1693101"/>
                    <a:gd name="connsiteY0" fmla="*/ 0 h 1427150"/>
                    <a:gd name="connsiteX1" fmla="*/ 533525 w 1693101"/>
                    <a:gd name="connsiteY1" fmla="*/ 1386 h 1427150"/>
                    <a:gd name="connsiteX2" fmla="*/ 565856 w 1693101"/>
                    <a:gd name="connsiteY2" fmla="*/ 2770 h 1427150"/>
                    <a:gd name="connsiteX3" fmla="*/ 589747 w 1693101"/>
                    <a:gd name="connsiteY3" fmla="*/ 5778 h 1427150"/>
                    <a:gd name="connsiteX4" fmla="*/ 605897 w 1693101"/>
                    <a:gd name="connsiteY4" fmla="*/ 6604 h 1427150"/>
                    <a:gd name="connsiteX5" fmla="*/ 619083 w 1693101"/>
                    <a:gd name="connsiteY5" fmla="*/ 9371 h 1427150"/>
                    <a:gd name="connsiteX6" fmla="*/ 634544 w 1693101"/>
                    <a:gd name="connsiteY6" fmla="*/ 11237 h 1427150"/>
                    <a:gd name="connsiteX7" fmla="*/ 668169 w 1693101"/>
                    <a:gd name="connsiteY7" fmla="*/ 18240 h 1427150"/>
                    <a:gd name="connsiteX8" fmla="*/ 688876 w 1693101"/>
                    <a:gd name="connsiteY8" fmla="*/ 24014 h 1427150"/>
                    <a:gd name="connsiteX9" fmla="*/ 716952 w 1693101"/>
                    <a:gd name="connsiteY9" fmla="*/ 29904 h 1427150"/>
                    <a:gd name="connsiteX10" fmla="*/ 719203 w 1693101"/>
                    <a:gd name="connsiteY10" fmla="*/ 30699 h 1427150"/>
                    <a:gd name="connsiteX11" fmla="*/ 730267 w 1693101"/>
                    <a:gd name="connsiteY11" fmla="*/ 32918 h 1427150"/>
                    <a:gd name="connsiteX12" fmla="*/ 730270 w 1693101"/>
                    <a:gd name="connsiteY12" fmla="*/ 32919 h 1427150"/>
                    <a:gd name="connsiteX13" fmla="*/ 744096 w 1693101"/>
                    <a:gd name="connsiteY13" fmla="*/ 35692 h 1427150"/>
                    <a:gd name="connsiteX14" fmla="*/ 779158 w 1693101"/>
                    <a:gd name="connsiteY14" fmla="*/ 45466 h 1427150"/>
                    <a:gd name="connsiteX15" fmla="*/ 812784 w 1693101"/>
                    <a:gd name="connsiteY15" fmla="*/ 58089 h 1427150"/>
                    <a:gd name="connsiteX16" fmla="*/ 849282 w 1693101"/>
                    <a:gd name="connsiteY16" fmla="*/ 70712 h 1427150"/>
                    <a:gd name="connsiteX17" fmla="*/ 885782 w 1693101"/>
                    <a:gd name="connsiteY17" fmla="*/ 86104 h 1427150"/>
                    <a:gd name="connsiteX18" fmla="*/ 920843 w 1693101"/>
                    <a:gd name="connsiteY18" fmla="*/ 101575 h 1427150"/>
                    <a:gd name="connsiteX19" fmla="*/ 957198 w 1693101"/>
                    <a:gd name="connsiteY19" fmla="*/ 118353 h 1427150"/>
                    <a:gd name="connsiteX20" fmla="*/ 993698 w 1693101"/>
                    <a:gd name="connsiteY20" fmla="*/ 139441 h 1427150"/>
                    <a:gd name="connsiteX21" fmla="*/ 1028759 w 1693101"/>
                    <a:gd name="connsiteY21" fmla="*/ 159068 h 1427150"/>
                    <a:gd name="connsiteX22" fmla="*/ 1065259 w 1693101"/>
                    <a:gd name="connsiteY22" fmla="*/ 182849 h 1427150"/>
                    <a:gd name="connsiteX23" fmla="*/ 1101614 w 1693101"/>
                    <a:gd name="connsiteY23" fmla="*/ 206709 h 1427150"/>
                    <a:gd name="connsiteX24" fmla="*/ 1138113 w 1693101"/>
                    <a:gd name="connsiteY24" fmla="*/ 233339 h 1427150"/>
                    <a:gd name="connsiteX25" fmla="*/ 1150758 w 1693101"/>
                    <a:gd name="connsiteY25" fmla="*/ 241728 h 1427150"/>
                    <a:gd name="connsiteX26" fmla="*/ 1161966 w 1693101"/>
                    <a:gd name="connsiteY26" fmla="*/ 251580 h 1427150"/>
                    <a:gd name="connsiteX27" fmla="*/ 1173175 w 1693101"/>
                    <a:gd name="connsiteY27" fmla="*/ 259968 h 1427150"/>
                    <a:gd name="connsiteX28" fmla="*/ 1184383 w 1693101"/>
                    <a:gd name="connsiteY28" fmla="*/ 269820 h 1427150"/>
                    <a:gd name="connsiteX29" fmla="*/ 1195591 w 1693101"/>
                    <a:gd name="connsiteY29" fmla="*/ 278210 h 1427150"/>
                    <a:gd name="connsiteX30" fmla="*/ 1208236 w 1693101"/>
                    <a:gd name="connsiteY30" fmla="*/ 289447 h 1427150"/>
                    <a:gd name="connsiteX31" fmla="*/ 1219445 w 1693101"/>
                    <a:gd name="connsiteY31" fmla="*/ 299221 h 1427150"/>
                    <a:gd name="connsiteX32" fmla="*/ 1230653 w 1693101"/>
                    <a:gd name="connsiteY32" fmla="*/ 307610 h 1427150"/>
                    <a:gd name="connsiteX33" fmla="*/ 1241861 w 1693101"/>
                    <a:gd name="connsiteY33" fmla="*/ 317462 h 1427150"/>
                    <a:gd name="connsiteX34" fmla="*/ 1251633 w 1693101"/>
                    <a:gd name="connsiteY34" fmla="*/ 327237 h 1427150"/>
                    <a:gd name="connsiteX35" fmla="*/ 1264278 w 1693101"/>
                    <a:gd name="connsiteY35" fmla="*/ 337088 h 1427150"/>
                    <a:gd name="connsiteX36" fmla="*/ 1274049 w 1693101"/>
                    <a:gd name="connsiteY36" fmla="*/ 348325 h 1427150"/>
                    <a:gd name="connsiteX37" fmla="*/ 1285258 w 1693101"/>
                    <a:gd name="connsiteY37" fmla="*/ 358100 h 1427150"/>
                    <a:gd name="connsiteX38" fmla="*/ 1295173 w 1693101"/>
                    <a:gd name="connsiteY38" fmla="*/ 367951 h 1427150"/>
                    <a:gd name="connsiteX39" fmla="*/ 1304944 w 1693101"/>
                    <a:gd name="connsiteY39" fmla="*/ 377726 h 1427150"/>
                    <a:gd name="connsiteX40" fmla="*/ 1316152 w 1693101"/>
                    <a:gd name="connsiteY40" fmla="*/ 387577 h 1427150"/>
                    <a:gd name="connsiteX41" fmla="*/ 1325924 w 1693101"/>
                    <a:gd name="connsiteY41" fmla="*/ 400200 h 1427150"/>
                    <a:gd name="connsiteX42" fmla="*/ 1335695 w 1693101"/>
                    <a:gd name="connsiteY42" fmla="*/ 409974 h 1427150"/>
                    <a:gd name="connsiteX43" fmla="*/ 1345610 w 1693101"/>
                    <a:gd name="connsiteY43" fmla="*/ 421212 h 1427150"/>
                    <a:gd name="connsiteX44" fmla="*/ 1355382 w 1693101"/>
                    <a:gd name="connsiteY44" fmla="*/ 430986 h 1427150"/>
                    <a:gd name="connsiteX45" fmla="*/ 1366590 w 1693101"/>
                    <a:gd name="connsiteY45" fmla="*/ 442223 h 1427150"/>
                    <a:gd name="connsiteX46" fmla="*/ 1375068 w 1693101"/>
                    <a:gd name="connsiteY46" fmla="*/ 453460 h 1427150"/>
                    <a:gd name="connsiteX47" fmla="*/ 1384840 w 1693101"/>
                    <a:gd name="connsiteY47" fmla="*/ 464697 h 1427150"/>
                    <a:gd name="connsiteX48" fmla="*/ 1394611 w 1693101"/>
                    <a:gd name="connsiteY48" fmla="*/ 474472 h 1427150"/>
                    <a:gd name="connsiteX49" fmla="*/ 1403090 w 1693101"/>
                    <a:gd name="connsiteY49" fmla="*/ 485709 h 1427150"/>
                    <a:gd name="connsiteX50" fmla="*/ 1411423 w 1693101"/>
                    <a:gd name="connsiteY50" fmla="*/ 496869 h 1427150"/>
                    <a:gd name="connsiteX51" fmla="*/ 1421338 w 1693101"/>
                    <a:gd name="connsiteY51" fmla="*/ 509490 h 1427150"/>
                    <a:gd name="connsiteX52" fmla="*/ 1429673 w 1693101"/>
                    <a:gd name="connsiteY52" fmla="*/ 520728 h 1427150"/>
                    <a:gd name="connsiteX53" fmla="*/ 1439445 w 1693101"/>
                    <a:gd name="connsiteY53" fmla="*/ 531965 h 1427150"/>
                    <a:gd name="connsiteX54" fmla="*/ 1446486 w 1693101"/>
                    <a:gd name="connsiteY54" fmla="*/ 541739 h 1427150"/>
                    <a:gd name="connsiteX55" fmla="*/ 1454964 w 1693101"/>
                    <a:gd name="connsiteY55" fmla="*/ 552976 h 1427150"/>
                    <a:gd name="connsiteX56" fmla="*/ 1500377 w 1693101"/>
                    <a:gd name="connsiteY56" fmla="*/ 619743 h 1427150"/>
                    <a:gd name="connsiteX57" fmla="*/ 1499788 w 1693101"/>
                    <a:gd name="connsiteY57" fmla="*/ 620272 h 1427150"/>
                    <a:gd name="connsiteX58" fmla="*/ 1511004 w 1693101"/>
                    <a:gd name="connsiteY58" fmla="*/ 638497 h 1427150"/>
                    <a:gd name="connsiteX59" fmla="*/ 1522218 w 1693101"/>
                    <a:gd name="connsiteY59" fmla="*/ 656721 h 1427150"/>
                    <a:gd name="connsiteX60" fmla="*/ 1534836 w 1693101"/>
                    <a:gd name="connsiteY60" fmla="*/ 676348 h 1427150"/>
                    <a:gd name="connsiteX61" fmla="*/ 1546051 w 1693101"/>
                    <a:gd name="connsiteY61" fmla="*/ 694574 h 1427150"/>
                    <a:gd name="connsiteX62" fmla="*/ 1555865 w 1693101"/>
                    <a:gd name="connsiteY62" fmla="*/ 712798 h 1427150"/>
                    <a:gd name="connsiteX63" fmla="*/ 1565678 w 1693101"/>
                    <a:gd name="connsiteY63" fmla="*/ 732425 h 1427150"/>
                    <a:gd name="connsiteX64" fmla="*/ 1575492 w 1693101"/>
                    <a:gd name="connsiteY64" fmla="*/ 752052 h 1427150"/>
                    <a:gd name="connsiteX65" fmla="*/ 1585305 w 1693101"/>
                    <a:gd name="connsiteY65" fmla="*/ 770277 h 1427150"/>
                    <a:gd name="connsiteX66" fmla="*/ 1595118 w 1693101"/>
                    <a:gd name="connsiteY66" fmla="*/ 789903 h 1427150"/>
                    <a:gd name="connsiteX67" fmla="*/ 1603530 w 1693101"/>
                    <a:gd name="connsiteY67" fmla="*/ 808129 h 1427150"/>
                    <a:gd name="connsiteX68" fmla="*/ 1610539 w 1693101"/>
                    <a:gd name="connsiteY68" fmla="*/ 827756 h 1427150"/>
                    <a:gd name="connsiteX69" fmla="*/ 1618951 w 1693101"/>
                    <a:gd name="connsiteY69" fmla="*/ 847383 h 1427150"/>
                    <a:gd name="connsiteX70" fmla="*/ 1625960 w 1693101"/>
                    <a:gd name="connsiteY70" fmla="*/ 867009 h 1427150"/>
                    <a:gd name="connsiteX71" fmla="*/ 1632970 w 1693101"/>
                    <a:gd name="connsiteY71" fmla="*/ 885234 h 1427150"/>
                    <a:gd name="connsiteX72" fmla="*/ 1641382 w 1693101"/>
                    <a:gd name="connsiteY72" fmla="*/ 904861 h 1427150"/>
                    <a:gd name="connsiteX73" fmla="*/ 1646989 w 1693101"/>
                    <a:gd name="connsiteY73" fmla="*/ 923086 h 1427150"/>
                    <a:gd name="connsiteX74" fmla="*/ 1652597 w 1693101"/>
                    <a:gd name="connsiteY74" fmla="*/ 944114 h 1427150"/>
                    <a:gd name="connsiteX75" fmla="*/ 1658205 w 1693101"/>
                    <a:gd name="connsiteY75" fmla="*/ 962340 h 1427150"/>
                    <a:gd name="connsiteX76" fmla="*/ 1663812 w 1693101"/>
                    <a:gd name="connsiteY76" fmla="*/ 981967 h 1427150"/>
                    <a:gd name="connsiteX77" fmla="*/ 1668018 w 1693101"/>
                    <a:gd name="connsiteY77" fmla="*/ 1001594 h 1427150"/>
                    <a:gd name="connsiteX78" fmla="*/ 1672224 w 1693101"/>
                    <a:gd name="connsiteY78" fmla="*/ 1019818 h 1427150"/>
                    <a:gd name="connsiteX79" fmla="*/ 1676430 w 1693101"/>
                    <a:gd name="connsiteY79" fmla="*/ 1038044 h 1427150"/>
                    <a:gd name="connsiteX80" fmla="*/ 1679233 w 1693101"/>
                    <a:gd name="connsiteY80" fmla="*/ 1057670 h 1427150"/>
                    <a:gd name="connsiteX81" fmla="*/ 1682037 w 1693101"/>
                    <a:gd name="connsiteY81" fmla="*/ 1075895 h 1427150"/>
                    <a:gd name="connsiteX82" fmla="*/ 1683439 w 1693101"/>
                    <a:gd name="connsiteY82" fmla="*/ 1094120 h 1427150"/>
                    <a:gd name="connsiteX83" fmla="*/ 1686243 w 1693101"/>
                    <a:gd name="connsiteY83" fmla="*/ 1113747 h 1427150"/>
                    <a:gd name="connsiteX84" fmla="*/ 1687645 w 1693101"/>
                    <a:gd name="connsiteY84" fmla="*/ 1131972 h 1427150"/>
                    <a:gd name="connsiteX85" fmla="*/ 1687645 w 1693101"/>
                    <a:gd name="connsiteY85" fmla="*/ 1150196 h 1427150"/>
                    <a:gd name="connsiteX86" fmla="*/ 1690449 w 1693101"/>
                    <a:gd name="connsiteY86" fmla="*/ 1169823 h 1427150"/>
                    <a:gd name="connsiteX87" fmla="*/ 1690449 w 1693101"/>
                    <a:gd name="connsiteY87" fmla="*/ 1186646 h 1427150"/>
                    <a:gd name="connsiteX88" fmla="*/ 1690449 w 1693101"/>
                    <a:gd name="connsiteY88" fmla="*/ 1204872 h 1427150"/>
                    <a:gd name="connsiteX89" fmla="*/ 1687645 w 1693101"/>
                    <a:gd name="connsiteY89" fmla="*/ 1223096 h 1427150"/>
                    <a:gd name="connsiteX90" fmla="*/ 1693101 w 1693101"/>
                    <a:gd name="connsiteY90" fmla="*/ 1218594 h 1427150"/>
                    <a:gd name="connsiteX91" fmla="*/ 1692901 w 1693101"/>
                    <a:gd name="connsiteY91" fmla="*/ 1219892 h 1427150"/>
                    <a:gd name="connsiteX92" fmla="*/ 1671900 w 1693101"/>
                    <a:gd name="connsiteY92" fmla="*/ 1237224 h 1427150"/>
                    <a:gd name="connsiteX93" fmla="*/ 1674655 w 1693101"/>
                    <a:gd name="connsiteY93" fmla="*/ 1238880 h 1427150"/>
                    <a:gd name="connsiteX94" fmla="*/ 1501705 w 1693101"/>
                    <a:gd name="connsiteY94" fmla="*/ 1381615 h 1427150"/>
                    <a:gd name="connsiteX95" fmla="*/ 1502485 w 1693101"/>
                    <a:gd name="connsiteY95" fmla="*/ 1376547 h 1427150"/>
                    <a:gd name="connsiteX96" fmla="*/ 1441170 w 1693101"/>
                    <a:gd name="connsiteY96" fmla="*/ 1427150 h 1427150"/>
                    <a:gd name="connsiteX97" fmla="*/ 1443974 w 1693101"/>
                    <a:gd name="connsiteY97" fmla="*/ 1408926 h 1427150"/>
                    <a:gd name="connsiteX98" fmla="*/ 1443974 w 1693101"/>
                    <a:gd name="connsiteY98" fmla="*/ 1390700 h 1427150"/>
                    <a:gd name="connsiteX99" fmla="*/ 1443974 w 1693101"/>
                    <a:gd name="connsiteY99" fmla="*/ 1373877 h 1427150"/>
                    <a:gd name="connsiteX100" fmla="*/ 1441170 w 1693101"/>
                    <a:gd name="connsiteY100" fmla="*/ 1354250 h 1427150"/>
                    <a:gd name="connsiteX101" fmla="*/ 1441170 w 1693101"/>
                    <a:gd name="connsiteY101" fmla="*/ 1336026 h 1427150"/>
                    <a:gd name="connsiteX102" fmla="*/ 1439768 w 1693101"/>
                    <a:gd name="connsiteY102" fmla="*/ 1317801 h 1427150"/>
                    <a:gd name="connsiteX103" fmla="*/ 1436964 w 1693101"/>
                    <a:gd name="connsiteY103" fmla="*/ 1298174 h 1427150"/>
                    <a:gd name="connsiteX104" fmla="*/ 1435562 w 1693101"/>
                    <a:gd name="connsiteY104" fmla="*/ 1279949 h 1427150"/>
                    <a:gd name="connsiteX105" fmla="*/ 1432758 w 1693101"/>
                    <a:gd name="connsiteY105" fmla="*/ 1261724 h 1427150"/>
                    <a:gd name="connsiteX106" fmla="*/ 1429955 w 1693101"/>
                    <a:gd name="connsiteY106" fmla="*/ 1242098 h 1427150"/>
                    <a:gd name="connsiteX107" fmla="*/ 1425749 w 1693101"/>
                    <a:gd name="connsiteY107" fmla="*/ 1223872 h 1427150"/>
                    <a:gd name="connsiteX108" fmla="*/ 1421543 w 1693101"/>
                    <a:gd name="connsiteY108" fmla="*/ 1205648 h 1427150"/>
                    <a:gd name="connsiteX109" fmla="*/ 1417337 w 1693101"/>
                    <a:gd name="connsiteY109" fmla="*/ 1186021 h 1427150"/>
                    <a:gd name="connsiteX110" fmla="*/ 1411730 w 1693101"/>
                    <a:gd name="connsiteY110" fmla="*/ 1166394 h 1427150"/>
                    <a:gd name="connsiteX111" fmla="*/ 1406122 w 1693101"/>
                    <a:gd name="connsiteY111" fmla="*/ 1148168 h 1427150"/>
                    <a:gd name="connsiteX112" fmla="*/ 1400514 w 1693101"/>
                    <a:gd name="connsiteY112" fmla="*/ 1127140 h 1427150"/>
                    <a:gd name="connsiteX113" fmla="*/ 1394907 w 1693101"/>
                    <a:gd name="connsiteY113" fmla="*/ 1108915 h 1427150"/>
                    <a:gd name="connsiteX114" fmla="*/ 1386495 w 1693101"/>
                    <a:gd name="connsiteY114" fmla="*/ 1089288 h 1427150"/>
                    <a:gd name="connsiteX115" fmla="*/ 1379485 w 1693101"/>
                    <a:gd name="connsiteY115" fmla="*/ 1071063 h 1427150"/>
                    <a:gd name="connsiteX116" fmla="*/ 1372476 w 1693101"/>
                    <a:gd name="connsiteY116" fmla="*/ 1051437 h 1427150"/>
                    <a:gd name="connsiteX117" fmla="*/ 1364064 w 1693101"/>
                    <a:gd name="connsiteY117" fmla="*/ 1031810 h 1427150"/>
                    <a:gd name="connsiteX118" fmla="*/ 1357055 w 1693101"/>
                    <a:gd name="connsiteY118" fmla="*/ 1012183 h 1427150"/>
                    <a:gd name="connsiteX119" fmla="*/ 1348643 w 1693101"/>
                    <a:gd name="connsiteY119" fmla="*/ 993957 h 1427150"/>
                    <a:gd name="connsiteX120" fmla="*/ 1338830 w 1693101"/>
                    <a:gd name="connsiteY120" fmla="*/ 974331 h 1427150"/>
                    <a:gd name="connsiteX121" fmla="*/ 1329017 w 1693101"/>
                    <a:gd name="connsiteY121" fmla="*/ 956106 h 1427150"/>
                    <a:gd name="connsiteX122" fmla="*/ 1319203 w 1693101"/>
                    <a:gd name="connsiteY122" fmla="*/ 936479 h 1427150"/>
                    <a:gd name="connsiteX123" fmla="*/ 1309390 w 1693101"/>
                    <a:gd name="connsiteY123" fmla="*/ 916852 h 1427150"/>
                    <a:gd name="connsiteX124" fmla="*/ 1299576 w 1693101"/>
                    <a:gd name="connsiteY124" fmla="*/ 898628 h 1427150"/>
                    <a:gd name="connsiteX125" fmla="*/ 1288361 w 1693101"/>
                    <a:gd name="connsiteY125" fmla="*/ 880402 h 1427150"/>
                    <a:gd name="connsiteX126" fmla="*/ 1275743 w 1693101"/>
                    <a:gd name="connsiteY126" fmla="*/ 860775 h 1427150"/>
                    <a:gd name="connsiteX127" fmla="*/ 1264529 w 1693101"/>
                    <a:gd name="connsiteY127" fmla="*/ 842551 h 1427150"/>
                    <a:gd name="connsiteX128" fmla="*/ 1253313 w 1693101"/>
                    <a:gd name="connsiteY128" fmla="*/ 824326 h 1427150"/>
                    <a:gd name="connsiteX129" fmla="*/ 1253902 w 1693101"/>
                    <a:gd name="connsiteY129" fmla="*/ 823797 h 1427150"/>
                    <a:gd name="connsiteX130" fmla="*/ 1208489 w 1693101"/>
                    <a:gd name="connsiteY130" fmla="*/ 757030 h 1427150"/>
                    <a:gd name="connsiteX131" fmla="*/ 1200011 w 1693101"/>
                    <a:gd name="connsiteY131" fmla="*/ 745793 h 1427150"/>
                    <a:gd name="connsiteX132" fmla="*/ 1192970 w 1693101"/>
                    <a:gd name="connsiteY132" fmla="*/ 736019 h 1427150"/>
                    <a:gd name="connsiteX133" fmla="*/ 1183198 w 1693101"/>
                    <a:gd name="connsiteY133" fmla="*/ 724782 h 1427150"/>
                    <a:gd name="connsiteX134" fmla="*/ 1174863 w 1693101"/>
                    <a:gd name="connsiteY134" fmla="*/ 713544 h 1427150"/>
                    <a:gd name="connsiteX135" fmla="*/ 1164948 w 1693101"/>
                    <a:gd name="connsiteY135" fmla="*/ 700923 h 1427150"/>
                    <a:gd name="connsiteX136" fmla="*/ 1156615 w 1693101"/>
                    <a:gd name="connsiteY136" fmla="*/ 689763 h 1427150"/>
                    <a:gd name="connsiteX137" fmla="*/ 1148136 w 1693101"/>
                    <a:gd name="connsiteY137" fmla="*/ 678526 h 1427150"/>
                    <a:gd name="connsiteX138" fmla="*/ 1138365 w 1693101"/>
                    <a:gd name="connsiteY138" fmla="*/ 668751 h 1427150"/>
                    <a:gd name="connsiteX139" fmla="*/ 1128593 w 1693101"/>
                    <a:gd name="connsiteY139" fmla="*/ 657514 h 1427150"/>
                    <a:gd name="connsiteX140" fmla="*/ 1120115 w 1693101"/>
                    <a:gd name="connsiteY140" fmla="*/ 646277 h 1427150"/>
                    <a:gd name="connsiteX141" fmla="*/ 1108907 w 1693101"/>
                    <a:gd name="connsiteY141" fmla="*/ 635040 h 1427150"/>
                    <a:gd name="connsiteX142" fmla="*/ 1099135 w 1693101"/>
                    <a:gd name="connsiteY142" fmla="*/ 625266 h 1427150"/>
                    <a:gd name="connsiteX143" fmla="*/ 1089220 w 1693101"/>
                    <a:gd name="connsiteY143" fmla="*/ 614028 h 1427150"/>
                    <a:gd name="connsiteX144" fmla="*/ 1079449 w 1693101"/>
                    <a:gd name="connsiteY144" fmla="*/ 604254 h 1427150"/>
                    <a:gd name="connsiteX145" fmla="*/ 1069677 w 1693101"/>
                    <a:gd name="connsiteY145" fmla="*/ 591631 h 1427150"/>
                    <a:gd name="connsiteX146" fmla="*/ 1058469 w 1693101"/>
                    <a:gd name="connsiteY146" fmla="*/ 581780 h 1427150"/>
                    <a:gd name="connsiteX147" fmla="*/ 1048698 w 1693101"/>
                    <a:gd name="connsiteY147" fmla="*/ 572005 h 1427150"/>
                    <a:gd name="connsiteX148" fmla="*/ 1038783 w 1693101"/>
                    <a:gd name="connsiteY148" fmla="*/ 562154 h 1427150"/>
                    <a:gd name="connsiteX149" fmla="*/ 1027574 w 1693101"/>
                    <a:gd name="connsiteY149" fmla="*/ 552379 h 1427150"/>
                    <a:gd name="connsiteX150" fmla="*/ 1017803 w 1693101"/>
                    <a:gd name="connsiteY150" fmla="*/ 541142 h 1427150"/>
                    <a:gd name="connsiteX151" fmla="*/ 1005158 w 1693101"/>
                    <a:gd name="connsiteY151" fmla="*/ 531291 h 1427150"/>
                    <a:gd name="connsiteX152" fmla="*/ 995386 w 1693101"/>
                    <a:gd name="connsiteY152" fmla="*/ 521516 h 1427150"/>
                    <a:gd name="connsiteX153" fmla="*/ 984178 w 1693101"/>
                    <a:gd name="connsiteY153" fmla="*/ 511664 h 1427150"/>
                    <a:gd name="connsiteX154" fmla="*/ 972970 w 1693101"/>
                    <a:gd name="connsiteY154" fmla="*/ 503275 h 1427150"/>
                    <a:gd name="connsiteX155" fmla="*/ 961761 w 1693101"/>
                    <a:gd name="connsiteY155" fmla="*/ 493501 h 1427150"/>
                    <a:gd name="connsiteX156" fmla="*/ 949116 w 1693101"/>
                    <a:gd name="connsiteY156" fmla="*/ 482264 h 1427150"/>
                    <a:gd name="connsiteX157" fmla="*/ 937908 w 1693101"/>
                    <a:gd name="connsiteY157" fmla="*/ 473874 h 1427150"/>
                    <a:gd name="connsiteX158" fmla="*/ 926700 w 1693101"/>
                    <a:gd name="connsiteY158" fmla="*/ 464022 h 1427150"/>
                    <a:gd name="connsiteX159" fmla="*/ 915491 w 1693101"/>
                    <a:gd name="connsiteY159" fmla="*/ 455634 h 1427150"/>
                    <a:gd name="connsiteX160" fmla="*/ 904283 w 1693101"/>
                    <a:gd name="connsiteY160" fmla="*/ 445782 h 1427150"/>
                    <a:gd name="connsiteX161" fmla="*/ 891638 w 1693101"/>
                    <a:gd name="connsiteY161" fmla="*/ 437393 h 1427150"/>
                    <a:gd name="connsiteX162" fmla="*/ 855139 w 1693101"/>
                    <a:gd name="connsiteY162" fmla="*/ 410763 h 1427150"/>
                    <a:gd name="connsiteX163" fmla="*/ 818784 w 1693101"/>
                    <a:gd name="connsiteY163" fmla="*/ 386903 h 1427150"/>
                    <a:gd name="connsiteX164" fmla="*/ 782284 w 1693101"/>
                    <a:gd name="connsiteY164" fmla="*/ 363122 h 1427150"/>
                    <a:gd name="connsiteX165" fmla="*/ 747223 w 1693101"/>
                    <a:gd name="connsiteY165" fmla="*/ 343495 h 1427150"/>
                    <a:gd name="connsiteX166" fmla="*/ 710723 w 1693101"/>
                    <a:gd name="connsiteY166" fmla="*/ 322407 h 1427150"/>
                    <a:gd name="connsiteX167" fmla="*/ 674368 w 1693101"/>
                    <a:gd name="connsiteY167" fmla="*/ 305629 h 1427150"/>
                    <a:gd name="connsiteX168" fmla="*/ 639307 w 1693101"/>
                    <a:gd name="connsiteY168" fmla="*/ 290158 h 1427150"/>
                    <a:gd name="connsiteX169" fmla="*/ 602807 w 1693101"/>
                    <a:gd name="connsiteY169" fmla="*/ 274766 h 1427150"/>
                    <a:gd name="connsiteX170" fmla="*/ 566309 w 1693101"/>
                    <a:gd name="connsiteY170" fmla="*/ 262143 h 1427150"/>
                    <a:gd name="connsiteX171" fmla="*/ 532683 w 1693101"/>
                    <a:gd name="connsiteY171" fmla="*/ 249520 h 1427150"/>
                    <a:gd name="connsiteX172" fmla="*/ 497622 w 1693101"/>
                    <a:gd name="connsiteY172" fmla="*/ 239746 h 1427150"/>
                    <a:gd name="connsiteX173" fmla="*/ 462703 w 1693101"/>
                    <a:gd name="connsiteY173" fmla="*/ 232742 h 1427150"/>
                    <a:gd name="connsiteX174" fmla="*/ 428935 w 1693101"/>
                    <a:gd name="connsiteY174" fmla="*/ 225739 h 1427150"/>
                    <a:gd name="connsiteX175" fmla="*/ 393872 w 1693101"/>
                    <a:gd name="connsiteY175" fmla="*/ 221506 h 1427150"/>
                    <a:gd name="connsiteX176" fmla="*/ 361684 w 1693101"/>
                    <a:gd name="connsiteY176" fmla="*/ 218734 h 1427150"/>
                    <a:gd name="connsiteX177" fmla="*/ 328060 w 1693101"/>
                    <a:gd name="connsiteY177" fmla="*/ 217272 h 1427150"/>
                    <a:gd name="connsiteX178" fmla="*/ 295871 w 1693101"/>
                    <a:gd name="connsiteY178" fmla="*/ 217272 h 1427150"/>
                    <a:gd name="connsiteX179" fmla="*/ 264977 w 1693101"/>
                    <a:gd name="connsiteY179" fmla="*/ 218734 h 1427150"/>
                    <a:gd name="connsiteX180" fmla="*/ 234082 w 1693101"/>
                    <a:gd name="connsiteY180" fmla="*/ 222890 h 1427150"/>
                    <a:gd name="connsiteX181" fmla="*/ 204624 w 1693101"/>
                    <a:gd name="connsiteY181" fmla="*/ 227124 h 1427150"/>
                    <a:gd name="connsiteX182" fmla="*/ 175310 w 1693101"/>
                    <a:gd name="connsiteY182" fmla="*/ 234127 h 1427150"/>
                    <a:gd name="connsiteX183" fmla="*/ 147146 w 1693101"/>
                    <a:gd name="connsiteY183" fmla="*/ 242517 h 1427150"/>
                    <a:gd name="connsiteX184" fmla="*/ 119125 w 1693101"/>
                    <a:gd name="connsiteY184" fmla="*/ 253753 h 1427150"/>
                    <a:gd name="connsiteX185" fmla="*/ 93978 w 1693101"/>
                    <a:gd name="connsiteY185" fmla="*/ 264990 h 1427150"/>
                    <a:gd name="connsiteX186" fmla="*/ 67250 w 1693101"/>
                    <a:gd name="connsiteY186" fmla="*/ 280383 h 1427150"/>
                    <a:gd name="connsiteX187" fmla="*/ 44833 w 1693101"/>
                    <a:gd name="connsiteY187" fmla="*/ 295777 h 1427150"/>
                    <a:gd name="connsiteX188" fmla="*/ 20980 w 1693101"/>
                    <a:gd name="connsiteY188" fmla="*/ 312632 h 1427150"/>
                    <a:gd name="connsiteX189" fmla="*/ 0 w 1693101"/>
                    <a:gd name="connsiteY189" fmla="*/ 333643 h 1427150"/>
                    <a:gd name="connsiteX190" fmla="*/ 109293 w 1693101"/>
                    <a:gd name="connsiteY190" fmla="*/ 189342 h 1427150"/>
                    <a:gd name="connsiteX191" fmla="*/ 123251 w 1693101"/>
                    <a:gd name="connsiteY191" fmla="*/ 199607 h 1427150"/>
                    <a:gd name="connsiteX192" fmla="*/ 205466 w 1693101"/>
                    <a:gd name="connsiteY192" fmla="*/ 113523 h 1427150"/>
                    <a:gd name="connsiteX193" fmla="*/ 226589 w 1693101"/>
                    <a:gd name="connsiteY193" fmla="*/ 92512 h 1427150"/>
                    <a:gd name="connsiteX194" fmla="*/ 249005 w 1693101"/>
                    <a:gd name="connsiteY194" fmla="*/ 75734 h 1427150"/>
                    <a:gd name="connsiteX195" fmla="*/ 272859 w 1693101"/>
                    <a:gd name="connsiteY195" fmla="*/ 60263 h 1427150"/>
                    <a:gd name="connsiteX196" fmla="*/ 299443 w 1693101"/>
                    <a:gd name="connsiteY196" fmla="*/ 44871 h 1427150"/>
                    <a:gd name="connsiteX197" fmla="*/ 324733 w 1693101"/>
                    <a:gd name="connsiteY197" fmla="*/ 33634 h 1427150"/>
                    <a:gd name="connsiteX198" fmla="*/ 352754 w 1693101"/>
                    <a:gd name="connsiteY198" fmla="*/ 23859 h 1427150"/>
                    <a:gd name="connsiteX199" fmla="*/ 378806 w 1693101"/>
                    <a:gd name="connsiteY199" fmla="*/ 15563 h 1427150"/>
                    <a:gd name="connsiteX200" fmla="*/ 379760 w 1693101"/>
                    <a:gd name="connsiteY200" fmla="*/ 15236 h 1427150"/>
                    <a:gd name="connsiteX201" fmla="*/ 381031 w 1693101"/>
                    <a:gd name="connsiteY201" fmla="*/ 15075 h 1427150"/>
                    <a:gd name="connsiteX202" fmla="*/ 408796 w 1693101"/>
                    <a:gd name="connsiteY202" fmla="*/ 9852 h 1427150"/>
                    <a:gd name="connsiteX203" fmla="*/ 438254 w 1693101"/>
                    <a:gd name="connsiteY203" fmla="*/ 4233 h 1427150"/>
                    <a:gd name="connsiteX204" fmla="*/ 470442 w 1693101"/>
                    <a:gd name="connsiteY204" fmla="*/ 1386 h 1427150"/>
                    <a:gd name="connsiteX205" fmla="*/ 501337 w 1693101"/>
                    <a:gd name="connsiteY205" fmla="*/ 0 h 1427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</a:cxnLst>
                  <a:rect l="l" t="t" r="r" b="b"/>
                  <a:pathLst>
                    <a:path w="1693101" h="1427150">
                      <a:moveTo>
                        <a:pt x="501337" y="0"/>
                      </a:moveTo>
                      <a:lnTo>
                        <a:pt x="533525" y="1386"/>
                      </a:lnTo>
                      <a:lnTo>
                        <a:pt x="565856" y="2770"/>
                      </a:lnTo>
                      <a:lnTo>
                        <a:pt x="589747" y="5778"/>
                      </a:lnTo>
                      <a:lnTo>
                        <a:pt x="605897" y="6604"/>
                      </a:lnTo>
                      <a:lnTo>
                        <a:pt x="619083" y="9371"/>
                      </a:lnTo>
                      <a:lnTo>
                        <a:pt x="634544" y="11237"/>
                      </a:lnTo>
                      <a:lnTo>
                        <a:pt x="668169" y="18240"/>
                      </a:lnTo>
                      <a:lnTo>
                        <a:pt x="688876" y="24014"/>
                      </a:lnTo>
                      <a:lnTo>
                        <a:pt x="716952" y="29904"/>
                      </a:lnTo>
                      <a:lnTo>
                        <a:pt x="719203" y="30699"/>
                      </a:lnTo>
                      <a:lnTo>
                        <a:pt x="730267" y="32918"/>
                      </a:lnTo>
                      <a:lnTo>
                        <a:pt x="730270" y="32919"/>
                      </a:lnTo>
                      <a:lnTo>
                        <a:pt x="744096" y="35692"/>
                      </a:lnTo>
                      <a:lnTo>
                        <a:pt x="779158" y="45466"/>
                      </a:lnTo>
                      <a:lnTo>
                        <a:pt x="812784" y="58089"/>
                      </a:lnTo>
                      <a:lnTo>
                        <a:pt x="849282" y="70712"/>
                      </a:lnTo>
                      <a:lnTo>
                        <a:pt x="885782" y="86104"/>
                      </a:lnTo>
                      <a:lnTo>
                        <a:pt x="920843" y="101575"/>
                      </a:lnTo>
                      <a:lnTo>
                        <a:pt x="957198" y="118353"/>
                      </a:lnTo>
                      <a:lnTo>
                        <a:pt x="993698" y="139441"/>
                      </a:lnTo>
                      <a:lnTo>
                        <a:pt x="1028759" y="159068"/>
                      </a:lnTo>
                      <a:lnTo>
                        <a:pt x="1065259" y="182849"/>
                      </a:lnTo>
                      <a:lnTo>
                        <a:pt x="1101614" y="206709"/>
                      </a:lnTo>
                      <a:lnTo>
                        <a:pt x="1138113" y="233339"/>
                      </a:lnTo>
                      <a:lnTo>
                        <a:pt x="1150758" y="241728"/>
                      </a:lnTo>
                      <a:cubicBezTo>
                        <a:pt x="1154494" y="245037"/>
                        <a:pt x="1158230" y="248270"/>
                        <a:pt x="1161966" y="251580"/>
                      </a:cubicBezTo>
                      <a:cubicBezTo>
                        <a:pt x="1165702" y="254351"/>
                        <a:pt x="1169439" y="257198"/>
                        <a:pt x="1173175" y="259968"/>
                      </a:cubicBezTo>
                      <a:cubicBezTo>
                        <a:pt x="1176911" y="263279"/>
                        <a:pt x="1180647" y="266511"/>
                        <a:pt x="1184383" y="269820"/>
                      </a:cubicBezTo>
                      <a:cubicBezTo>
                        <a:pt x="1188119" y="272591"/>
                        <a:pt x="1191856" y="275439"/>
                        <a:pt x="1195591" y="278210"/>
                      </a:cubicBezTo>
                      <a:cubicBezTo>
                        <a:pt x="1199758" y="281981"/>
                        <a:pt x="1204069" y="285676"/>
                        <a:pt x="1208236" y="289447"/>
                      </a:cubicBezTo>
                      <a:cubicBezTo>
                        <a:pt x="1211973" y="292679"/>
                        <a:pt x="1215709" y="295988"/>
                        <a:pt x="1219445" y="299221"/>
                      </a:cubicBezTo>
                      <a:cubicBezTo>
                        <a:pt x="1223181" y="301992"/>
                        <a:pt x="1226917" y="304840"/>
                        <a:pt x="1230653" y="307610"/>
                      </a:cubicBezTo>
                      <a:cubicBezTo>
                        <a:pt x="1234390" y="310920"/>
                        <a:pt x="1238125" y="314152"/>
                        <a:pt x="1241861" y="317462"/>
                      </a:cubicBezTo>
                      <a:cubicBezTo>
                        <a:pt x="1245167" y="320694"/>
                        <a:pt x="1248328" y="324004"/>
                        <a:pt x="1251633" y="327237"/>
                      </a:cubicBezTo>
                      <a:cubicBezTo>
                        <a:pt x="1255800" y="330546"/>
                        <a:pt x="1260111" y="333779"/>
                        <a:pt x="1264278" y="337088"/>
                      </a:cubicBezTo>
                      <a:cubicBezTo>
                        <a:pt x="1267583" y="340860"/>
                        <a:pt x="1270745" y="344553"/>
                        <a:pt x="1274049" y="348325"/>
                      </a:cubicBezTo>
                      <a:cubicBezTo>
                        <a:pt x="1277786" y="351558"/>
                        <a:pt x="1281522" y="354867"/>
                        <a:pt x="1285258" y="358100"/>
                      </a:cubicBezTo>
                      <a:cubicBezTo>
                        <a:pt x="1288563" y="361409"/>
                        <a:pt x="1291868" y="364642"/>
                        <a:pt x="1295173" y="367951"/>
                      </a:cubicBezTo>
                      <a:cubicBezTo>
                        <a:pt x="1298478" y="371183"/>
                        <a:pt x="1301639" y="374494"/>
                        <a:pt x="1304944" y="377726"/>
                      </a:cubicBezTo>
                      <a:cubicBezTo>
                        <a:pt x="1308681" y="381035"/>
                        <a:pt x="1312417" y="384268"/>
                        <a:pt x="1316152" y="387577"/>
                      </a:cubicBezTo>
                      <a:cubicBezTo>
                        <a:pt x="1319458" y="391810"/>
                        <a:pt x="1322619" y="395967"/>
                        <a:pt x="1325924" y="400200"/>
                      </a:cubicBezTo>
                      <a:cubicBezTo>
                        <a:pt x="1329230" y="403432"/>
                        <a:pt x="1332391" y="406741"/>
                        <a:pt x="1335695" y="409974"/>
                      </a:cubicBezTo>
                      <a:cubicBezTo>
                        <a:pt x="1339000" y="413746"/>
                        <a:pt x="1342306" y="417440"/>
                        <a:pt x="1345610" y="421212"/>
                      </a:cubicBezTo>
                      <a:cubicBezTo>
                        <a:pt x="1348916" y="424444"/>
                        <a:pt x="1352077" y="427754"/>
                        <a:pt x="1355382" y="430986"/>
                      </a:cubicBezTo>
                      <a:cubicBezTo>
                        <a:pt x="1359118" y="434757"/>
                        <a:pt x="1362854" y="438452"/>
                        <a:pt x="1366590" y="442223"/>
                      </a:cubicBezTo>
                      <a:cubicBezTo>
                        <a:pt x="1369464" y="445994"/>
                        <a:pt x="1372195" y="449689"/>
                        <a:pt x="1375068" y="453460"/>
                      </a:cubicBezTo>
                      <a:cubicBezTo>
                        <a:pt x="1378373" y="457231"/>
                        <a:pt x="1381534" y="460925"/>
                        <a:pt x="1384840" y="464697"/>
                      </a:cubicBezTo>
                      <a:cubicBezTo>
                        <a:pt x="1388145" y="467929"/>
                        <a:pt x="1391306" y="471239"/>
                        <a:pt x="1394611" y="474472"/>
                      </a:cubicBezTo>
                      <a:cubicBezTo>
                        <a:pt x="1397485" y="478243"/>
                        <a:pt x="1400215" y="481937"/>
                        <a:pt x="1403090" y="485709"/>
                      </a:cubicBezTo>
                      <a:cubicBezTo>
                        <a:pt x="1405820" y="489403"/>
                        <a:pt x="1408693" y="493174"/>
                        <a:pt x="1411423" y="496869"/>
                      </a:cubicBezTo>
                      <a:cubicBezTo>
                        <a:pt x="1414729" y="501102"/>
                        <a:pt x="1418034" y="505257"/>
                        <a:pt x="1421338" y="509490"/>
                      </a:cubicBezTo>
                      <a:cubicBezTo>
                        <a:pt x="1424069" y="513262"/>
                        <a:pt x="1426943" y="516956"/>
                        <a:pt x="1429673" y="520728"/>
                      </a:cubicBezTo>
                      <a:cubicBezTo>
                        <a:pt x="1432978" y="524499"/>
                        <a:pt x="1436139" y="528194"/>
                        <a:pt x="1439445" y="531965"/>
                      </a:cubicBezTo>
                      <a:cubicBezTo>
                        <a:pt x="1441744" y="535197"/>
                        <a:pt x="1444186" y="538507"/>
                        <a:pt x="1446486" y="541739"/>
                      </a:cubicBezTo>
                      <a:cubicBezTo>
                        <a:pt x="1449359" y="545510"/>
                        <a:pt x="1452090" y="549205"/>
                        <a:pt x="1454964" y="552976"/>
                      </a:cubicBezTo>
                      <a:lnTo>
                        <a:pt x="1500377" y="619743"/>
                      </a:lnTo>
                      <a:lnTo>
                        <a:pt x="1499788" y="620272"/>
                      </a:lnTo>
                      <a:lnTo>
                        <a:pt x="1511004" y="638497"/>
                      </a:lnTo>
                      <a:lnTo>
                        <a:pt x="1522218" y="656721"/>
                      </a:lnTo>
                      <a:lnTo>
                        <a:pt x="1534836" y="676348"/>
                      </a:lnTo>
                      <a:lnTo>
                        <a:pt x="1546051" y="694574"/>
                      </a:lnTo>
                      <a:lnTo>
                        <a:pt x="1555865" y="712798"/>
                      </a:lnTo>
                      <a:lnTo>
                        <a:pt x="1565678" y="732425"/>
                      </a:lnTo>
                      <a:lnTo>
                        <a:pt x="1575492" y="752052"/>
                      </a:lnTo>
                      <a:lnTo>
                        <a:pt x="1585305" y="770277"/>
                      </a:lnTo>
                      <a:lnTo>
                        <a:pt x="1595118" y="789903"/>
                      </a:lnTo>
                      <a:lnTo>
                        <a:pt x="1603530" y="808129"/>
                      </a:lnTo>
                      <a:lnTo>
                        <a:pt x="1610539" y="827756"/>
                      </a:lnTo>
                      <a:lnTo>
                        <a:pt x="1618951" y="847383"/>
                      </a:lnTo>
                      <a:lnTo>
                        <a:pt x="1625960" y="867009"/>
                      </a:lnTo>
                      <a:lnTo>
                        <a:pt x="1632970" y="885234"/>
                      </a:lnTo>
                      <a:lnTo>
                        <a:pt x="1641382" y="904861"/>
                      </a:lnTo>
                      <a:lnTo>
                        <a:pt x="1646989" y="923086"/>
                      </a:lnTo>
                      <a:lnTo>
                        <a:pt x="1652597" y="944114"/>
                      </a:lnTo>
                      <a:lnTo>
                        <a:pt x="1658205" y="962340"/>
                      </a:lnTo>
                      <a:lnTo>
                        <a:pt x="1663812" y="981967"/>
                      </a:lnTo>
                      <a:lnTo>
                        <a:pt x="1668018" y="1001594"/>
                      </a:lnTo>
                      <a:lnTo>
                        <a:pt x="1672224" y="1019818"/>
                      </a:lnTo>
                      <a:lnTo>
                        <a:pt x="1676430" y="1038044"/>
                      </a:lnTo>
                      <a:lnTo>
                        <a:pt x="1679233" y="1057670"/>
                      </a:lnTo>
                      <a:lnTo>
                        <a:pt x="1682037" y="1075895"/>
                      </a:lnTo>
                      <a:lnTo>
                        <a:pt x="1683439" y="1094120"/>
                      </a:lnTo>
                      <a:lnTo>
                        <a:pt x="1686243" y="1113747"/>
                      </a:lnTo>
                      <a:lnTo>
                        <a:pt x="1687645" y="1131972"/>
                      </a:lnTo>
                      <a:lnTo>
                        <a:pt x="1687645" y="1150196"/>
                      </a:lnTo>
                      <a:lnTo>
                        <a:pt x="1690449" y="1169823"/>
                      </a:lnTo>
                      <a:lnTo>
                        <a:pt x="1690449" y="1186646"/>
                      </a:lnTo>
                      <a:lnTo>
                        <a:pt x="1690449" y="1204872"/>
                      </a:lnTo>
                      <a:lnTo>
                        <a:pt x="1687645" y="1223096"/>
                      </a:lnTo>
                      <a:lnTo>
                        <a:pt x="1693101" y="1218594"/>
                      </a:lnTo>
                      <a:lnTo>
                        <a:pt x="1692901" y="1219892"/>
                      </a:lnTo>
                      <a:lnTo>
                        <a:pt x="1671900" y="1237224"/>
                      </a:lnTo>
                      <a:lnTo>
                        <a:pt x="1674655" y="1238880"/>
                      </a:lnTo>
                      <a:lnTo>
                        <a:pt x="1501705" y="1381615"/>
                      </a:lnTo>
                      <a:lnTo>
                        <a:pt x="1502485" y="1376547"/>
                      </a:lnTo>
                      <a:lnTo>
                        <a:pt x="1441170" y="1427150"/>
                      </a:lnTo>
                      <a:lnTo>
                        <a:pt x="1443974" y="1408926"/>
                      </a:lnTo>
                      <a:lnTo>
                        <a:pt x="1443974" y="1390700"/>
                      </a:lnTo>
                      <a:lnTo>
                        <a:pt x="1443974" y="1373877"/>
                      </a:lnTo>
                      <a:lnTo>
                        <a:pt x="1441170" y="1354250"/>
                      </a:lnTo>
                      <a:lnTo>
                        <a:pt x="1441170" y="1336026"/>
                      </a:lnTo>
                      <a:lnTo>
                        <a:pt x="1439768" y="1317801"/>
                      </a:lnTo>
                      <a:lnTo>
                        <a:pt x="1436964" y="1298174"/>
                      </a:lnTo>
                      <a:lnTo>
                        <a:pt x="1435562" y="1279949"/>
                      </a:lnTo>
                      <a:lnTo>
                        <a:pt x="1432758" y="1261724"/>
                      </a:lnTo>
                      <a:lnTo>
                        <a:pt x="1429955" y="1242098"/>
                      </a:lnTo>
                      <a:lnTo>
                        <a:pt x="1425749" y="1223872"/>
                      </a:lnTo>
                      <a:lnTo>
                        <a:pt x="1421543" y="1205648"/>
                      </a:lnTo>
                      <a:lnTo>
                        <a:pt x="1417337" y="1186021"/>
                      </a:lnTo>
                      <a:lnTo>
                        <a:pt x="1411730" y="1166394"/>
                      </a:lnTo>
                      <a:lnTo>
                        <a:pt x="1406122" y="1148168"/>
                      </a:lnTo>
                      <a:lnTo>
                        <a:pt x="1400514" y="1127140"/>
                      </a:lnTo>
                      <a:lnTo>
                        <a:pt x="1394907" y="1108915"/>
                      </a:lnTo>
                      <a:lnTo>
                        <a:pt x="1386495" y="1089288"/>
                      </a:lnTo>
                      <a:lnTo>
                        <a:pt x="1379485" y="1071063"/>
                      </a:lnTo>
                      <a:lnTo>
                        <a:pt x="1372476" y="1051437"/>
                      </a:lnTo>
                      <a:lnTo>
                        <a:pt x="1364064" y="1031810"/>
                      </a:lnTo>
                      <a:lnTo>
                        <a:pt x="1357055" y="1012183"/>
                      </a:lnTo>
                      <a:lnTo>
                        <a:pt x="1348643" y="993957"/>
                      </a:lnTo>
                      <a:lnTo>
                        <a:pt x="1338830" y="974331"/>
                      </a:lnTo>
                      <a:lnTo>
                        <a:pt x="1329017" y="956106"/>
                      </a:lnTo>
                      <a:lnTo>
                        <a:pt x="1319203" y="936479"/>
                      </a:lnTo>
                      <a:lnTo>
                        <a:pt x="1309390" y="916852"/>
                      </a:lnTo>
                      <a:lnTo>
                        <a:pt x="1299576" y="898628"/>
                      </a:lnTo>
                      <a:lnTo>
                        <a:pt x="1288361" y="880402"/>
                      </a:lnTo>
                      <a:lnTo>
                        <a:pt x="1275743" y="860775"/>
                      </a:lnTo>
                      <a:lnTo>
                        <a:pt x="1264529" y="842551"/>
                      </a:lnTo>
                      <a:lnTo>
                        <a:pt x="1253313" y="824326"/>
                      </a:lnTo>
                      <a:lnTo>
                        <a:pt x="1253902" y="823797"/>
                      </a:lnTo>
                      <a:lnTo>
                        <a:pt x="1208489" y="757030"/>
                      </a:lnTo>
                      <a:cubicBezTo>
                        <a:pt x="1205615" y="753259"/>
                        <a:pt x="1202884" y="749564"/>
                        <a:pt x="1200011" y="745793"/>
                      </a:cubicBezTo>
                      <a:cubicBezTo>
                        <a:pt x="1197711" y="742561"/>
                        <a:pt x="1195269" y="739251"/>
                        <a:pt x="1192970" y="736019"/>
                      </a:cubicBezTo>
                      <a:lnTo>
                        <a:pt x="1183198" y="724782"/>
                      </a:lnTo>
                      <a:cubicBezTo>
                        <a:pt x="1180468" y="721010"/>
                        <a:pt x="1177594" y="717316"/>
                        <a:pt x="1174863" y="713544"/>
                      </a:cubicBezTo>
                      <a:lnTo>
                        <a:pt x="1164948" y="700923"/>
                      </a:lnTo>
                      <a:cubicBezTo>
                        <a:pt x="1162218" y="697228"/>
                        <a:pt x="1159345" y="693457"/>
                        <a:pt x="1156615" y="689763"/>
                      </a:cubicBezTo>
                      <a:cubicBezTo>
                        <a:pt x="1153740" y="685991"/>
                        <a:pt x="1151010" y="682297"/>
                        <a:pt x="1148136" y="678526"/>
                      </a:cubicBezTo>
                      <a:cubicBezTo>
                        <a:pt x="1144831" y="675293"/>
                        <a:pt x="1141670" y="671983"/>
                        <a:pt x="1138365" y="668751"/>
                      </a:cubicBezTo>
                      <a:lnTo>
                        <a:pt x="1128593" y="657514"/>
                      </a:lnTo>
                      <a:cubicBezTo>
                        <a:pt x="1125720" y="653743"/>
                        <a:pt x="1122989" y="650048"/>
                        <a:pt x="1120115" y="646277"/>
                      </a:cubicBezTo>
                      <a:lnTo>
                        <a:pt x="1108907" y="635040"/>
                      </a:lnTo>
                      <a:cubicBezTo>
                        <a:pt x="1105602" y="631808"/>
                        <a:pt x="1102441" y="628498"/>
                        <a:pt x="1099135" y="625266"/>
                      </a:cubicBezTo>
                      <a:lnTo>
                        <a:pt x="1089220" y="614028"/>
                      </a:lnTo>
                      <a:cubicBezTo>
                        <a:pt x="1085916" y="610795"/>
                        <a:pt x="1082755" y="607486"/>
                        <a:pt x="1079449" y="604254"/>
                      </a:cubicBezTo>
                      <a:cubicBezTo>
                        <a:pt x="1076144" y="600021"/>
                        <a:pt x="1072983" y="595864"/>
                        <a:pt x="1069677" y="591631"/>
                      </a:cubicBezTo>
                      <a:lnTo>
                        <a:pt x="1058469" y="581780"/>
                      </a:lnTo>
                      <a:cubicBezTo>
                        <a:pt x="1055164" y="578548"/>
                        <a:pt x="1052003" y="575237"/>
                        <a:pt x="1048698" y="572005"/>
                      </a:cubicBezTo>
                      <a:lnTo>
                        <a:pt x="1038783" y="562154"/>
                      </a:lnTo>
                      <a:lnTo>
                        <a:pt x="1027574" y="552379"/>
                      </a:lnTo>
                      <a:lnTo>
                        <a:pt x="1017803" y="541142"/>
                      </a:lnTo>
                      <a:cubicBezTo>
                        <a:pt x="1013636" y="537833"/>
                        <a:pt x="1009325" y="534600"/>
                        <a:pt x="1005158" y="531291"/>
                      </a:cubicBezTo>
                      <a:cubicBezTo>
                        <a:pt x="1001853" y="528058"/>
                        <a:pt x="998692" y="524748"/>
                        <a:pt x="995386" y="521516"/>
                      </a:cubicBezTo>
                      <a:lnTo>
                        <a:pt x="984178" y="511664"/>
                      </a:lnTo>
                      <a:lnTo>
                        <a:pt x="972970" y="503275"/>
                      </a:lnTo>
                      <a:lnTo>
                        <a:pt x="961761" y="493501"/>
                      </a:lnTo>
                      <a:cubicBezTo>
                        <a:pt x="957595" y="489730"/>
                        <a:pt x="953283" y="486035"/>
                        <a:pt x="949116" y="482264"/>
                      </a:cubicBezTo>
                      <a:lnTo>
                        <a:pt x="937908" y="473874"/>
                      </a:lnTo>
                      <a:lnTo>
                        <a:pt x="926700" y="464022"/>
                      </a:lnTo>
                      <a:lnTo>
                        <a:pt x="915491" y="455634"/>
                      </a:lnTo>
                      <a:lnTo>
                        <a:pt x="904283" y="445782"/>
                      </a:lnTo>
                      <a:lnTo>
                        <a:pt x="891638" y="437393"/>
                      </a:lnTo>
                      <a:lnTo>
                        <a:pt x="855139" y="410763"/>
                      </a:lnTo>
                      <a:lnTo>
                        <a:pt x="818784" y="386903"/>
                      </a:lnTo>
                      <a:lnTo>
                        <a:pt x="782284" y="363122"/>
                      </a:lnTo>
                      <a:lnTo>
                        <a:pt x="747223" y="343495"/>
                      </a:lnTo>
                      <a:lnTo>
                        <a:pt x="710723" y="322407"/>
                      </a:lnTo>
                      <a:lnTo>
                        <a:pt x="674368" y="305629"/>
                      </a:lnTo>
                      <a:lnTo>
                        <a:pt x="639307" y="290158"/>
                      </a:lnTo>
                      <a:lnTo>
                        <a:pt x="602807" y="274766"/>
                      </a:lnTo>
                      <a:lnTo>
                        <a:pt x="566309" y="262143"/>
                      </a:lnTo>
                      <a:lnTo>
                        <a:pt x="532683" y="249520"/>
                      </a:lnTo>
                      <a:lnTo>
                        <a:pt x="497622" y="239746"/>
                      </a:lnTo>
                      <a:lnTo>
                        <a:pt x="462703" y="232742"/>
                      </a:lnTo>
                      <a:lnTo>
                        <a:pt x="428935" y="225739"/>
                      </a:lnTo>
                      <a:lnTo>
                        <a:pt x="393872" y="221506"/>
                      </a:lnTo>
                      <a:lnTo>
                        <a:pt x="361684" y="218734"/>
                      </a:lnTo>
                      <a:lnTo>
                        <a:pt x="328060" y="217272"/>
                      </a:lnTo>
                      <a:lnTo>
                        <a:pt x="295871" y="217272"/>
                      </a:lnTo>
                      <a:lnTo>
                        <a:pt x="264977" y="218734"/>
                      </a:lnTo>
                      <a:lnTo>
                        <a:pt x="234082" y="222890"/>
                      </a:lnTo>
                      <a:lnTo>
                        <a:pt x="204624" y="227124"/>
                      </a:lnTo>
                      <a:lnTo>
                        <a:pt x="175310" y="234127"/>
                      </a:lnTo>
                      <a:lnTo>
                        <a:pt x="147146" y="242517"/>
                      </a:lnTo>
                      <a:lnTo>
                        <a:pt x="119125" y="253753"/>
                      </a:lnTo>
                      <a:lnTo>
                        <a:pt x="93978" y="264990"/>
                      </a:lnTo>
                      <a:lnTo>
                        <a:pt x="67250" y="280383"/>
                      </a:lnTo>
                      <a:lnTo>
                        <a:pt x="44833" y="295777"/>
                      </a:lnTo>
                      <a:lnTo>
                        <a:pt x="20980" y="312632"/>
                      </a:lnTo>
                      <a:lnTo>
                        <a:pt x="0" y="333643"/>
                      </a:lnTo>
                      <a:lnTo>
                        <a:pt x="109293" y="189342"/>
                      </a:lnTo>
                      <a:lnTo>
                        <a:pt x="123251" y="199607"/>
                      </a:lnTo>
                      <a:lnTo>
                        <a:pt x="205466" y="113523"/>
                      </a:lnTo>
                      <a:lnTo>
                        <a:pt x="226589" y="92512"/>
                      </a:lnTo>
                      <a:lnTo>
                        <a:pt x="249005" y="75734"/>
                      </a:lnTo>
                      <a:lnTo>
                        <a:pt x="272859" y="60263"/>
                      </a:lnTo>
                      <a:lnTo>
                        <a:pt x="299443" y="44871"/>
                      </a:lnTo>
                      <a:lnTo>
                        <a:pt x="324733" y="33634"/>
                      </a:lnTo>
                      <a:lnTo>
                        <a:pt x="352754" y="23859"/>
                      </a:lnTo>
                      <a:lnTo>
                        <a:pt x="378806" y="15563"/>
                      </a:lnTo>
                      <a:lnTo>
                        <a:pt x="379760" y="15236"/>
                      </a:lnTo>
                      <a:lnTo>
                        <a:pt x="381031" y="15075"/>
                      </a:lnTo>
                      <a:lnTo>
                        <a:pt x="408796" y="9852"/>
                      </a:lnTo>
                      <a:lnTo>
                        <a:pt x="438254" y="4233"/>
                      </a:lnTo>
                      <a:lnTo>
                        <a:pt x="470442" y="1386"/>
                      </a:lnTo>
                      <a:lnTo>
                        <a:pt x="501337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/>
                </a:p>
              </p:txBody>
            </p:sp>
            <p:sp>
              <p:nvSpPr>
                <p:cNvPr id="33" name="Freeform 133">
                  <a:extLst>
                    <a:ext uri="{FF2B5EF4-FFF2-40B4-BE49-F238E27FC236}">
                      <a16:creationId xmlns:a16="http://schemas.microsoft.com/office/drawing/2014/main" id="{D3D2B2F1-2432-459D-983E-B941011A43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36351" y="2461280"/>
                  <a:ext cx="685414" cy="603301"/>
                </a:xfrm>
                <a:custGeom>
                  <a:avLst/>
                  <a:gdLst>
                    <a:gd name="connsiteX0" fmla="*/ 293980 w 685414"/>
                    <a:gd name="connsiteY0" fmla="*/ 0 h 695773"/>
                    <a:gd name="connsiteX1" fmla="*/ 289774 w 685414"/>
                    <a:gd name="connsiteY1" fmla="*/ 71498 h 695773"/>
                    <a:gd name="connsiteX2" fmla="*/ 260334 w 685414"/>
                    <a:gd name="connsiteY2" fmla="*/ 112153 h 695773"/>
                    <a:gd name="connsiteX3" fmla="*/ 206435 w 685414"/>
                    <a:gd name="connsiteY3" fmla="*/ 119064 h 695773"/>
                    <a:gd name="connsiteX4" fmla="*/ 685414 w 685414"/>
                    <a:gd name="connsiteY4" fmla="*/ 463771 h 695773"/>
                    <a:gd name="connsiteX5" fmla="*/ 480836 w 685414"/>
                    <a:gd name="connsiteY5" fmla="*/ 695773 h 695773"/>
                    <a:gd name="connsiteX6" fmla="*/ 2732 w 685414"/>
                    <a:gd name="connsiteY6" fmla="*/ 348682 h 695773"/>
                    <a:gd name="connsiteX7" fmla="*/ 2381 w 685414"/>
                    <a:gd name="connsiteY7" fmla="*/ 349078 h 695773"/>
                    <a:gd name="connsiteX8" fmla="*/ 2657 w 685414"/>
                    <a:gd name="connsiteY8" fmla="*/ 348628 h 695773"/>
                    <a:gd name="connsiteX9" fmla="*/ 0 w 685414"/>
                    <a:gd name="connsiteY9" fmla="*/ 346699 h 695773"/>
                    <a:gd name="connsiteX10" fmla="*/ 12517 w 685414"/>
                    <a:gd name="connsiteY10" fmla="*/ 332540 h 695773"/>
                    <a:gd name="connsiteX11" fmla="*/ 29018 w 685414"/>
                    <a:gd name="connsiteY11" fmla="*/ 305619 h 695773"/>
                    <a:gd name="connsiteX12" fmla="*/ 58458 w 685414"/>
                    <a:gd name="connsiteY12" fmla="*/ 266365 h 695773"/>
                    <a:gd name="connsiteX13" fmla="*/ 89300 w 685414"/>
                    <a:gd name="connsiteY13" fmla="*/ 228513 h 695773"/>
                    <a:gd name="connsiteX0" fmla="*/ 255614 w 685414"/>
                    <a:gd name="connsiteY0" fmla="*/ 0 h 674131"/>
                    <a:gd name="connsiteX1" fmla="*/ 289774 w 685414"/>
                    <a:gd name="connsiteY1" fmla="*/ 49856 h 674131"/>
                    <a:gd name="connsiteX2" fmla="*/ 260334 w 685414"/>
                    <a:gd name="connsiteY2" fmla="*/ 90511 h 674131"/>
                    <a:gd name="connsiteX3" fmla="*/ 206435 w 685414"/>
                    <a:gd name="connsiteY3" fmla="*/ 97422 h 674131"/>
                    <a:gd name="connsiteX4" fmla="*/ 685414 w 685414"/>
                    <a:gd name="connsiteY4" fmla="*/ 442129 h 674131"/>
                    <a:gd name="connsiteX5" fmla="*/ 480836 w 685414"/>
                    <a:gd name="connsiteY5" fmla="*/ 674131 h 674131"/>
                    <a:gd name="connsiteX6" fmla="*/ 2732 w 685414"/>
                    <a:gd name="connsiteY6" fmla="*/ 327040 h 674131"/>
                    <a:gd name="connsiteX7" fmla="*/ 2381 w 685414"/>
                    <a:gd name="connsiteY7" fmla="*/ 327436 h 674131"/>
                    <a:gd name="connsiteX8" fmla="*/ 2657 w 685414"/>
                    <a:gd name="connsiteY8" fmla="*/ 326986 h 674131"/>
                    <a:gd name="connsiteX9" fmla="*/ 0 w 685414"/>
                    <a:gd name="connsiteY9" fmla="*/ 325057 h 674131"/>
                    <a:gd name="connsiteX10" fmla="*/ 12517 w 685414"/>
                    <a:gd name="connsiteY10" fmla="*/ 310898 h 674131"/>
                    <a:gd name="connsiteX11" fmla="*/ 29018 w 685414"/>
                    <a:gd name="connsiteY11" fmla="*/ 283977 h 674131"/>
                    <a:gd name="connsiteX12" fmla="*/ 58458 w 685414"/>
                    <a:gd name="connsiteY12" fmla="*/ 244723 h 674131"/>
                    <a:gd name="connsiteX13" fmla="*/ 89300 w 685414"/>
                    <a:gd name="connsiteY13" fmla="*/ 206871 h 674131"/>
                    <a:gd name="connsiteX14" fmla="*/ 255614 w 685414"/>
                    <a:gd name="connsiteY14" fmla="*/ 0 h 674131"/>
                    <a:gd name="connsiteX0" fmla="*/ 255614 w 685414"/>
                    <a:gd name="connsiteY0" fmla="*/ 0 h 674131"/>
                    <a:gd name="connsiteX1" fmla="*/ 252392 w 685414"/>
                    <a:gd name="connsiteY1" fmla="*/ 59693 h 674131"/>
                    <a:gd name="connsiteX2" fmla="*/ 260334 w 685414"/>
                    <a:gd name="connsiteY2" fmla="*/ 90511 h 674131"/>
                    <a:gd name="connsiteX3" fmla="*/ 206435 w 685414"/>
                    <a:gd name="connsiteY3" fmla="*/ 97422 h 674131"/>
                    <a:gd name="connsiteX4" fmla="*/ 685414 w 685414"/>
                    <a:gd name="connsiteY4" fmla="*/ 442129 h 674131"/>
                    <a:gd name="connsiteX5" fmla="*/ 480836 w 685414"/>
                    <a:gd name="connsiteY5" fmla="*/ 674131 h 674131"/>
                    <a:gd name="connsiteX6" fmla="*/ 2732 w 685414"/>
                    <a:gd name="connsiteY6" fmla="*/ 327040 h 674131"/>
                    <a:gd name="connsiteX7" fmla="*/ 2381 w 685414"/>
                    <a:gd name="connsiteY7" fmla="*/ 327436 h 674131"/>
                    <a:gd name="connsiteX8" fmla="*/ 2657 w 685414"/>
                    <a:gd name="connsiteY8" fmla="*/ 326986 h 674131"/>
                    <a:gd name="connsiteX9" fmla="*/ 0 w 685414"/>
                    <a:gd name="connsiteY9" fmla="*/ 325057 h 674131"/>
                    <a:gd name="connsiteX10" fmla="*/ 12517 w 685414"/>
                    <a:gd name="connsiteY10" fmla="*/ 310898 h 674131"/>
                    <a:gd name="connsiteX11" fmla="*/ 29018 w 685414"/>
                    <a:gd name="connsiteY11" fmla="*/ 283977 h 674131"/>
                    <a:gd name="connsiteX12" fmla="*/ 58458 w 685414"/>
                    <a:gd name="connsiteY12" fmla="*/ 244723 h 674131"/>
                    <a:gd name="connsiteX13" fmla="*/ 89300 w 685414"/>
                    <a:gd name="connsiteY13" fmla="*/ 206871 h 674131"/>
                    <a:gd name="connsiteX14" fmla="*/ 255614 w 685414"/>
                    <a:gd name="connsiteY14" fmla="*/ 0 h 674131"/>
                    <a:gd name="connsiteX0" fmla="*/ 255614 w 685414"/>
                    <a:gd name="connsiteY0" fmla="*/ 0 h 674131"/>
                    <a:gd name="connsiteX1" fmla="*/ 260334 w 685414"/>
                    <a:gd name="connsiteY1" fmla="*/ 90511 h 674131"/>
                    <a:gd name="connsiteX2" fmla="*/ 206435 w 685414"/>
                    <a:gd name="connsiteY2" fmla="*/ 97422 h 674131"/>
                    <a:gd name="connsiteX3" fmla="*/ 685414 w 685414"/>
                    <a:gd name="connsiteY3" fmla="*/ 442129 h 674131"/>
                    <a:gd name="connsiteX4" fmla="*/ 480836 w 685414"/>
                    <a:gd name="connsiteY4" fmla="*/ 674131 h 674131"/>
                    <a:gd name="connsiteX5" fmla="*/ 2732 w 685414"/>
                    <a:gd name="connsiteY5" fmla="*/ 327040 h 674131"/>
                    <a:gd name="connsiteX6" fmla="*/ 2381 w 685414"/>
                    <a:gd name="connsiteY6" fmla="*/ 327436 h 674131"/>
                    <a:gd name="connsiteX7" fmla="*/ 2657 w 685414"/>
                    <a:gd name="connsiteY7" fmla="*/ 326986 h 674131"/>
                    <a:gd name="connsiteX8" fmla="*/ 0 w 685414"/>
                    <a:gd name="connsiteY8" fmla="*/ 325057 h 674131"/>
                    <a:gd name="connsiteX9" fmla="*/ 12517 w 685414"/>
                    <a:gd name="connsiteY9" fmla="*/ 310898 h 674131"/>
                    <a:gd name="connsiteX10" fmla="*/ 29018 w 685414"/>
                    <a:gd name="connsiteY10" fmla="*/ 283977 h 674131"/>
                    <a:gd name="connsiteX11" fmla="*/ 58458 w 685414"/>
                    <a:gd name="connsiteY11" fmla="*/ 244723 h 674131"/>
                    <a:gd name="connsiteX12" fmla="*/ 89300 w 685414"/>
                    <a:gd name="connsiteY12" fmla="*/ 206871 h 674131"/>
                    <a:gd name="connsiteX13" fmla="*/ 255614 w 685414"/>
                    <a:gd name="connsiteY13" fmla="*/ 0 h 674131"/>
                    <a:gd name="connsiteX0" fmla="*/ 255614 w 685414"/>
                    <a:gd name="connsiteY0" fmla="*/ 0 h 674131"/>
                    <a:gd name="connsiteX1" fmla="*/ 206435 w 685414"/>
                    <a:gd name="connsiteY1" fmla="*/ 97422 h 674131"/>
                    <a:gd name="connsiteX2" fmla="*/ 685414 w 685414"/>
                    <a:gd name="connsiteY2" fmla="*/ 442129 h 674131"/>
                    <a:gd name="connsiteX3" fmla="*/ 480836 w 685414"/>
                    <a:gd name="connsiteY3" fmla="*/ 674131 h 674131"/>
                    <a:gd name="connsiteX4" fmla="*/ 2732 w 685414"/>
                    <a:gd name="connsiteY4" fmla="*/ 327040 h 674131"/>
                    <a:gd name="connsiteX5" fmla="*/ 2381 w 685414"/>
                    <a:gd name="connsiteY5" fmla="*/ 327436 h 674131"/>
                    <a:gd name="connsiteX6" fmla="*/ 2657 w 685414"/>
                    <a:gd name="connsiteY6" fmla="*/ 326986 h 674131"/>
                    <a:gd name="connsiteX7" fmla="*/ 0 w 685414"/>
                    <a:gd name="connsiteY7" fmla="*/ 325057 h 674131"/>
                    <a:gd name="connsiteX8" fmla="*/ 12517 w 685414"/>
                    <a:gd name="connsiteY8" fmla="*/ 310898 h 674131"/>
                    <a:gd name="connsiteX9" fmla="*/ 29018 w 685414"/>
                    <a:gd name="connsiteY9" fmla="*/ 283977 h 674131"/>
                    <a:gd name="connsiteX10" fmla="*/ 58458 w 685414"/>
                    <a:gd name="connsiteY10" fmla="*/ 244723 h 674131"/>
                    <a:gd name="connsiteX11" fmla="*/ 89300 w 685414"/>
                    <a:gd name="connsiteY11" fmla="*/ 206871 h 674131"/>
                    <a:gd name="connsiteX12" fmla="*/ 255614 w 685414"/>
                    <a:gd name="connsiteY12" fmla="*/ 0 h 674131"/>
                    <a:gd name="connsiteX0" fmla="*/ 200524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12517 w 685414"/>
                    <a:gd name="connsiteY8" fmla="*/ 240068 h 603301"/>
                    <a:gd name="connsiteX9" fmla="*/ 29018 w 685414"/>
                    <a:gd name="connsiteY9" fmla="*/ 213147 h 603301"/>
                    <a:gd name="connsiteX10" fmla="*/ 58458 w 685414"/>
                    <a:gd name="connsiteY10" fmla="*/ 173893 h 603301"/>
                    <a:gd name="connsiteX11" fmla="*/ 89300 w 685414"/>
                    <a:gd name="connsiteY11" fmla="*/ 136041 h 603301"/>
                    <a:gd name="connsiteX12" fmla="*/ 200524 w 685414"/>
                    <a:gd name="connsiteY12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12517 w 685414"/>
                    <a:gd name="connsiteY8" fmla="*/ 240068 h 603301"/>
                    <a:gd name="connsiteX9" fmla="*/ 29018 w 685414"/>
                    <a:gd name="connsiteY9" fmla="*/ 213147 h 603301"/>
                    <a:gd name="connsiteX10" fmla="*/ 58458 w 685414"/>
                    <a:gd name="connsiteY10" fmla="*/ 173893 h 603301"/>
                    <a:gd name="connsiteX11" fmla="*/ 89300 w 685414"/>
                    <a:gd name="connsiteY11" fmla="*/ 136041 h 603301"/>
                    <a:gd name="connsiteX12" fmla="*/ 201508 w 685414"/>
                    <a:gd name="connsiteY12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12517 w 685414"/>
                    <a:gd name="connsiteY8" fmla="*/ 238101 h 603301"/>
                    <a:gd name="connsiteX9" fmla="*/ 29018 w 685414"/>
                    <a:gd name="connsiteY9" fmla="*/ 213147 h 603301"/>
                    <a:gd name="connsiteX10" fmla="*/ 58458 w 685414"/>
                    <a:gd name="connsiteY10" fmla="*/ 173893 h 603301"/>
                    <a:gd name="connsiteX11" fmla="*/ 89300 w 685414"/>
                    <a:gd name="connsiteY11" fmla="*/ 136041 h 603301"/>
                    <a:gd name="connsiteX12" fmla="*/ 201508 w 685414"/>
                    <a:gd name="connsiteY12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29018 w 685414"/>
                    <a:gd name="connsiteY8" fmla="*/ 213147 h 603301"/>
                    <a:gd name="connsiteX9" fmla="*/ 58458 w 685414"/>
                    <a:gd name="connsiteY9" fmla="*/ 173893 h 603301"/>
                    <a:gd name="connsiteX10" fmla="*/ 89300 w 685414"/>
                    <a:gd name="connsiteY10" fmla="*/ 136041 h 603301"/>
                    <a:gd name="connsiteX11" fmla="*/ 201508 w 685414"/>
                    <a:gd name="connsiteY11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58458 w 685414"/>
                    <a:gd name="connsiteY8" fmla="*/ 173893 h 603301"/>
                    <a:gd name="connsiteX9" fmla="*/ 89300 w 685414"/>
                    <a:gd name="connsiteY9" fmla="*/ 136041 h 603301"/>
                    <a:gd name="connsiteX10" fmla="*/ 201508 w 685414"/>
                    <a:gd name="connsiteY10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89300 w 685414"/>
                    <a:gd name="connsiteY8" fmla="*/ 136041 h 603301"/>
                    <a:gd name="connsiteX9" fmla="*/ 201508 w 685414"/>
                    <a:gd name="connsiteY9" fmla="*/ 0 h 603301"/>
                    <a:gd name="connsiteX0" fmla="*/ 201508 w 685414"/>
                    <a:gd name="connsiteY0" fmla="*/ 0 h 603301"/>
                    <a:gd name="connsiteX1" fmla="*/ 206435 w 685414"/>
                    <a:gd name="connsiteY1" fmla="*/ 26592 h 603301"/>
                    <a:gd name="connsiteX2" fmla="*/ 685414 w 685414"/>
                    <a:gd name="connsiteY2" fmla="*/ 371299 h 603301"/>
                    <a:gd name="connsiteX3" fmla="*/ 480836 w 685414"/>
                    <a:gd name="connsiteY3" fmla="*/ 603301 h 603301"/>
                    <a:gd name="connsiteX4" fmla="*/ 2732 w 685414"/>
                    <a:gd name="connsiteY4" fmla="*/ 256210 h 603301"/>
                    <a:gd name="connsiteX5" fmla="*/ 2381 w 685414"/>
                    <a:gd name="connsiteY5" fmla="*/ 256606 h 603301"/>
                    <a:gd name="connsiteX6" fmla="*/ 2657 w 685414"/>
                    <a:gd name="connsiteY6" fmla="*/ 256156 h 603301"/>
                    <a:gd name="connsiteX7" fmla="*/ 0 w 685414"/>
                    <a:gd name="connsiteY7" fmla="*/ 254227 h 603301"/>
                    <a:gd name="connsiteX8" fmla="*/ 201508 w 685414"/>
                    <a:gd name="connsiteY8" fmla="*/ 0 h 6033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85414" h="603301">
                      <a:moveTo>
                        <a:pt x="201508" y="0"/>
                      </a:moveTo>
                      <a:lnTo>
                        <a:pt x="206435" y="26592"/>
                      </a:lnTo>
                      <a:lnTo>
                        <a:pt x="685414" y="371299"/>
                      </a:lnTo>
                      <a:lnTo>
                        <a:pt x="480836" y="603301"/>
                      </a:lnTo>
                      <a:lnTo>
                        <a:pt x="2732" y="256210"/>
                      </a:lnTo>
                      <a:lnTo>
                        <a:pt x="2381" y="256606"/>
                      </a:lnTo>
                      <a:lnTo>
                        <a:pt x="2657" y="256156"/>
                      </a:lnTo>
                      <a:lnTo>
                        <a:pt x="0" y="254227"/>
                      </a:lnTo>
                      <a:lnTo>
                        <a:pt x="201508" y="0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 dirty="0"/>
                </a:p>
              </p:txBody>
            </p:sp>
            <p:sp>
              <p:nvSpPr>
                <p:cNvPr id="34" name="Freeform 126">
                  <a:extLst>
                    <a:ext uri="{FF2B5EF4-FFF2-40B4-BE49-F238E27FC236}">
                      <a16:creationId xmlns:a16="http://schemas.microsoft.com/office/drawing/2014/main" id="{6BF5DAF7-4671-4DEC-B825-029AFA3CDD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845" y="2165126"/>
                  <a:ext cx="2494555" cy="1985059"/>
                </a:xfrm>
                <a:custGeom>
                  <a:avLst/>
                  <a:gdLst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14678 w 2492607"/>
                    <a:gd name="connsiteY8" fmla="*/ 922757 h 1985059"/>
                    <a:gd name="connsiteX9" fmla="*/ 2118281 w 2492607"/>
                    <a:gd name="connsiteY9" fmla="*/ 927390 h 1985059"/>
                    <a:gd name="connsiteX10" fmla="*/ 2117525 w 2492607"/>
                    <a:gd name="connsiteY10" fmla="*/ 927667 h 1985059"/>
                    <a:gd name="connsiteX11" fmla="*/ 2149377 w 2492607"/>
                    <a:gd name="connsiteY11" fmla="*/ 982592 h 1985059"/>
                    <a:gd name="connsiteX12" fmla="*/ 2154267 w 2492607"/>
                    <a:gd name="connsiteY12" fmla="*/ 980764 h 1985059"/>
                    <a:gd name="connsiteX13" fmla="*/ 2492445 w 2492607"/>
                    <a:gd name="connsiteY13" fmla="*/ 1974724 h 1985059"/>
                    <a:gd name="connsiteX14" fmla="*/ 2491971 w 2492607"/>
                    <a:gd name="connsiteY14" fmla="*/ 1974439 h 1985059"/>
                    <a:gd name="connsiteX15" fmla="*/ 2492357 w 2492607"/>
                    <a:gd name="connsiteY15" fmla="*/ 1985059 h 1985059"/>
                    <a:gd name="connsiteX16" fmla="*/ 2479330 w 2492607"/>
                    <a:gd name="connsiteY16" fmla="*/ 1977229 h 1985059"/>
                    <a:gd name="connsiteX17" fmla="*/ 2468130 w 2492607"/>
                    <a:gd name="connsiteY17" fmla="*/ 1970497 h 1985059"/>
                    <a:gd name="connsiteX18" fmla="*/ 2468630 w 2492607"/>
                    <a:gd name="connsiteY18" fmla="*/ 1984249 h 1985059"/>
                    <a:gd name="connsiteX19" fmla="*/ 2099863 w 2492607"/>
                    <a:gd name="connsiteY19" fmla="*/ 1762610 h 1985059"/>
                    <a:gd name="connsiteX20" fmla="*/ 2024341 w 2492607"/>
                    <a:gd name="connsiteY20" fmla="*/ 1717219 h 1985059"/>
                    <a:gd name="connsiteX21" fmla="*/ 2065487 w 2492607"/>
                    <a:gd name="connsiteY21" fmla="*/ 1683261 h 1985059"/>
                    <a:gd name="connsiteX22" fmla="*/ 2065686 w 2492607"/>
                    <a:gd name="connsiteY22" fmla="*/ 1681963 h 1985059"/>
                    <a:gd name="connsiteX23" fmla="*/ 2040086 w 2492607"/>
                    <a:gd name="connsiteY23" fmla="*/ 1703090 h 1985059"/>
                    <a:gd name="connsiteX24" fmla="*/ 2042890 w 2492607"/>
                    <a:gd name="connsiteY24" fmla="*/ 1684867 h 1985059"/>
                    <a:gd name="connsiteX25" fmla="*/ 2042890 w 2492607"/>
                    <a:gd name="connsiteY25" fmla="*/ 1666640 h 1985059"/>
                    <a:gd name="connsiteX26" fmla="*/ 2042890 w 2492607"/>
                    <a:gd name="connsiteY26" fmla="*/ 1649818 h 1985059"/>
                    <a:gd name="connsiteX27" fmla="*/ 2040086 w 2492607"/>
                    <a:gd name="connsiteY27" fmla="*/ 1630190 h 1985059"/>
                    <a:gd name="connsiteX28" fmla="*/ 2040086 w 2492607"/>
                    <a:gd name="connsiteY28" fmla="*/ 1611966 h 1985059"/>
                    <a:gd name="connsiteX29" fmla="*/ 2038684 w 2492607"/>
                    <a:gd name="connsiteY29" fmla="*/ 1593741 h 1985059"/>
                    <a:gd name="connsiteX30" fmla="*/ 2035880 w 2492607"/>
                    <a:gd name="connsiteY30" fmla="*/ 1574114 h 1985059"/>
                    <a:gd name="connsiteX31" fmla="*/ 2034478 w 2492607"/>
                    <a:gd name="connsiteY31" fmla="*/ 1555890 h 1985059"/>
                    <a:gd name="connsiteX32" fmla="*/ 2031674 w 2492607"/>
                    <a:gd name="connsiteY32" fmla="*/ 1537665 h 1985059"/>
                    <a:gd name="connsiteX33" fmla="*/ 2028871 w 2492607"/>
                    <a:gd name="connsiteY33" fmla="*/ 1518039 h 1985059"/>
                    <a:gd name="connsiteX34" fmla="*/ 2024665 w 2492607"/>
                    <a:gd name="connsiteY34" fmla="*/ 1499812 h 1985059"/>
                    <a:gd name="connsiteX35" fmla="*/ 2020459 w 2492607"/>
                    <a:gd name="connsiteY35" fmla="*/ 1481588 h 1985059"/>
                    <a:gd name="connsiteX36" fmla="*/ 2016253 w 2492607"/>
                    <a:gd name="connsiteY36" fmla="*/ 1461961 h 1985059"/>
                    <a:gd name="connsiteX37" fmla="*/ 2010646 w 2492607"/>
                    <a:gd name="connsiteY37" fmla="*/ 1442335 h 1985059"/>
                    <a:gd name="connsiteX38" fmla="*/ 2005038 w 2492607"/>
                    <a:gd name="connsiteY38" fmla="*/ 1424108 h 1985059"/>
                    <a:gd name="connsiteX39" fmla="*/ 1999430 w 2492607"/>
                    <a:gd name="connsiteY39" fmla="*/ 1403081 h 1985059"/>
                    <a:gd name="connsiteX40" fmla="*/ 1993823 w 2492607"/>
                    <a:gd name="connsiteY40" fmla="*/ 1384856 h 1985059"/>
                    <a:gd name="connsiteX41" fmla="*/ 1985411 w 2492607"/>
                    <a:gd name="connsiteY41" fmla="*/ 1365228 h 1985059"/>
                    <a:gd name="connsiteX42" fmla="*/ 1978401 w 2492607"/>
                    <a:gd name="connsiteY42" fmla="*/ 1347004 h 1985059"/>
                    <a:gd name="connsiteX43" fmla="*/ 1971392 w 2492607"/>
                    <a:gd name="connsiteY43" fmla="*/ 1327377 h 1985059"/>
                    <a:gd name="connsiteX44" fmla="*/ 1962980 w 2492607"/>
                    <a:gd name="connsiteY44" fmla="*/ 1307750 h 1985059"/>
                    <a:gd name="connsiteX45" fmla="*/ 1955971 w 2492607"/>
                    <a:gd name="connsiteY45" fmla="*/ 1288124 h 1985059"/>
                    <a:gd name="connsiteX46" fmla="*/ 1947559 w 2492607"/>
                    <a:gd name="connsiteY46" fmla="*/ 1269897 h 1985059"/>
                    <a:gd name="connsiteX47" fmla="*/ 1937746 w 2492607"/>
                    <a:gd name="connsiteY47" fmla="*/ 1250272 h 1985059"/>
                    <a:gd name="connsiteX48" fmla="*/ 1927933 w 2492607"/>
                    <a:gd name="connsiteY48" fmla="*/ 1232047 h 1985059"/>
                    <a:gd name="connsiteX49" fmla="*/ 1918119 w 2492607"/>
                    <a:gd name="connsiteY49" fmla="*/ 1212419 h 1985059"/>
                    <a:gd name="connsiteX50" fmla="*/ 1908306 w 2492607"/>
                    <a:gd name="connsiteY50" fmla="*/ 1192792 h 1985059"/>
                    <a:gd name="connsiteX51" fmla="*/ 1898492 w 2492607"/>
                    <a:gd name="connsiteY51" fmla="*/ 1174568 h 1985059"/>
                    <a:gd name="connsiteX52" fmla="*/ 1887277 w 2492607"/>
                    <a:gd name="connsiteY52" fmla="*/ 1156343 h 1985059"/>
                    <a:gd name="connsiteX53" fmla="*/ 1874659 w 2492607"/>
                    <a:gd name="connsiteY53" fmla="*/ 1136716 h 1985059"/>
                    <a:gd name="connsiteX54" fmla="*/ 1863445 w 2492607"/>
                    <a:gd name="connsiteY54" fmla="*/ 1118491 h 1985059"/>
                    <a:gd name="connsiteX55" fmla="*/ 1852229 w 2492607"/>
                    <a:gd name="connsiteY55" fmla="*/ 1100266 h 1985059"/>
                    <a:gd name="connsiteX56" fmla="*/ 1852818 w 2492607"/>
                    <a:gd name="connsiteY56" fmla="*/ 1099737 h 1985059"/>
                    <a:gd name="connsiteX57" fmla="*/ 1807405 w 2492607"/>
                    <a:gd name="connsiteY57" fmla="*/ 1032970 h 1985059"/>
                    <a:gd name="connsiteX58" fmla="*/ 1798928 w 2492607"/>
                    <a:gd name="connsiteY58" fmla="*/ 1021733 h 1985059"/>
                    <a:gd name="connsiteX59" fmla="*/ 1791886 w 2492607"/>
                    <a:gd name="connsiteY59" fmla="*/ 1011959 h 1985059"/>
                    <a:gd name="connsiteX60" fmla="*/ 1782114 w 2492607"/>
                    <a:gd name="connsiteY60" fmla="*/ 1000723 h 1985059"/>
                    <a:gd name="connsiteX61" fmla="*/ 1773779 w 2492607"/>
                    <a:gd name="connsiteY61" fmla="*/ 989484 h 1985059"/>
                    <a:gd name="connsiteX62" fmla="*/ 1763865 w 2492607"/>
                    <a:gd name="connsiteY62" fmla="*/ 976863 h 1985059"/>
                    <a:gd name="connsiteX63" fmla="*/ 1755531 w 2492607"/>
                    <a:gd name="connsiteY63" fmla="*/ 965704 h 1985059"/>
                    <a:gd name="connsiteX64" fmla="*/ 1747052 w 2492607"/>
                    <a:gd name="connsiteY64" fmla="*/ 954467 h 1985059"/>
                    <a:gd name="connsiteX65" fmla="*/ 1737281 w 2492607"/>
                    <a:gd name="connsiteY65" fmla="*/ 944691 h 1985059"/>
                    <a:gd name="connsiteX66" fmla="*/ 1727509 w 2492607"/>
                    <a:gd name="connsiteY66" fmla="*/ 933454 h 1985059"/>
                    <a:gd name="connsiteX67" fmla="*/ 1719031 w 2492607"/>
                    <a:gd name="connsiteY67" fmla="*/ 922217 h 1985059"/>
                    <a:gd name="connsiteX68" fmla="*/ 1707823 w 2492607"/>
                    <a:gd name="connsiteY68" fmla="*/ 910981 h 1985059"/>
                    <a:gd name="connsiteX69" fmla="*/ 1698051 w 2492607"/>
                    <a:gd name="connsiteY69" fmla="*/ 901207 h 1985059"/>
                    <a:gd name="connsiteX70" fmla="*/ 1688136 w 2492607"/>
                    <a:gd name="connsiteY70" fmla="*/ 889969 h 1985059"/>
                    <a:gd name="connsiteX71" fmla="*/ 1678365 w 2492607"/>
                    <a:gd name="connsiteY71" fmla="*/ 880194 h 1985059"/>
                    <a:gd name="connsiteX72" fmla="*/ 1668593 w 2492607"/>
                    <a:gd name="connsiteY72" fmla="*/ 867571 h 1985059"/>
                    <a:gd name="connsiteX73" fmla="*/ 1657385 w 2492607"/>
                    <a:gd name="connsiteY73" fmla="*/ 857721 h 1985059"/>
                    <a:gd name="connsiteX74" fmla="*/ 1647614 w 2492607"/>
                    <a:gd name="connsiteY74" fmla="*/ 847946 h 1985059"/>
                    <a:gd name="connsiteX75" fmla="*/ 1637699 w 2492607"/>
                    <a:gd name="connsiteY75" fmla="*/ 838095 h 1985059"/>
                    <a:gd name="connsiteX76" fmla="*/ 1626490 w 2492607"/>
                    <a:gd name="connsiteY76" fmla="*/ 828320 h 1985059"/>
                    <a:gd name="connsiteX77" fmla="*/ 1616719 w 2492607"/>
                    <a:gd name="connsiteY77" fmla="*/ 817082 h 1985059"/>
                    <a:gd name="connsiteX78" fmla="*/ 1604074 w 2492607"/>
                    <a:gd name="connsiteY78" fmla="*/ 807231 h 1985059"/>
                    <a:gd name="connsiteX79" fmla="*/ 1594302 w 2492607"/>
                    <a:gd name="connsiteY79" fmla="*/ 797456 h 1985059"/>
                    <a:gd name="connsiteX80" fmla="*/ 1583094 w 2492607"/>
                    <a:gd name="connsiteY80" fmla="*/ 787605 h 1985059"/>
                    <a:gd name="connsiteX81" fmla="*/ 1571886 w 2492607"/>
                    <a:gd name="connsiteY81" fmla="*/ 779215 h 1985059"/>
                    <a:gd name="connsiteX82" fmla="*/ 1560677 w 2492607"/>
                    <a:gd name="connsiteY82" fmla="*/ 769442 h 1985059"/>
                    <a:gd name="connsiteX83" fmla="*/ 1548032 w 2492607"/>
                    <a:gd name="connsiteY83" fmla="*/ 758204 h 1985059"/>
                    <a:gd name="connsiteX84" fmla="*/ 1536824 w 2492607"/>
                    <a:gd name="connsiteY84" fmla="*/ 749814 h 1985059"/>
                    <a:gd name="connsiteX85" fmla="*/ 1525616 w 2492607"/>
                    <a:gd name="connsiteY85" fmla="*/ 739962 h 1985059"/>
                    <a:gd name="connsiteX86" fmla="*/ 1514407 w 2492607"/>
                    <a:gd name="connsiteY86" fmla="*/ 731574 h 1985059"/>
                    <a:gd name="connsiteX87" fmla="*/ 1503200 w 2492607"/>
                    <a:gd name="connsiteY87" fmla="*/ 721723 h 1985059"/>
                    <a:gd name="connsiteX88" fmla="*/ 1490554 w 2492607"/>
                    <a:gd name="connsiteY88" fmla="*/ 713333 h 1985059"/>
                    <a:gd name="connsiteX89" fmla="*/ 1454055 w 2492607"/>
                    <a:gd name="connsiteY89" fmla="*/ 686703 h 1985059"/>
                    <a:gd name="connsiteX90" fmla="*/ 1417700 w 2492607"/>
                    <a:gd name="connsiteY90" fmla="*/ 662843 h 1985059"/>
                    <a:gd name="connsiteX91" fmla="*/ 1381200 w 2492607"/>
                    <a:gd name="connsiteY91" fmla="*/ 639062 h 1985059"/>
                    <a:gd name="connsiteX92" fmla="*/ 1346139 w 2492607"/>
                    <a:gd name="connsiteY92" fmla="*/ 619435 h 1985059"/>
                    <a:gd name="connsiteX93" fmla="*/ 1309639 w 2492607"/>
                    <a:gd name="connsiteY93" fmla="*/ 598347 h 1985059"/>
                    <a:gd name="connsiteX94" fmla="*/ 1273284 w 2492607"/>
                    <a:gd name="connsiteY94" fmla="*/ 581569 h 1985059"/>
                    <a:gd name="connsiteX95" fmla="*/ 1238223 w 2492607"/>
                    <a:gd name="connsiteY95" fmla="*/ 566099 h 1985059"/>
                    <a:gd name="connsiteX96" fmla="*/ 1201723 w 2492607"/>
                    <a:gd name="connsiteY96" fmla="*/ 550706 h 1985059"/>
                    <a:gd name="connsiteX97" fmla="*/ 1165225 w 2492607"/>
                    <a:gd name="connsiteY97" fmla="*/ 538084 h 1985059"/>
                    <a:gd name="connsiteX98" fmla="*/ 1131599 w 2492607"/>
                    <a:gd name="connsiteY98" fmla="*/ 525460 h 1985059"/>
                    <a:gd name="connsiteX99" fmla="*/ 1096537 w 2492607"/>
                    <a:gd name="connsiteY99" fmla="*/ 515686 h 1985059"/>
                    <a:gd name="connsiteX100" fmla="*/ 1082711 w 2492607"/>
                    <a:gd name="connsiteY100" fmla="*/ 512913 h 1985059"/>
                    <a:gd name="connsiteX101" fmla="*/ 1082708 w 2492607"/>
                    <a:gd name="connsiteY101" fmla="*/ 512913 h 1985059"/>
                    <a:gd name="connsiteX102" fmla="*/ 1071644 w 2492607"/>
                    <a:gd name="connsiteY102" fmla="*/ 510693 h 1985059"/>
                    <a:gd name="connsiteX103" fmla="*/ 1069393 w 2492607"/>
                    <a:gd name="connsiteY103" fmla="*/ 509898 h 1985059"/>
                    <a:gd name="connsiteX104" fmla="*/ 1041317 w 2492607"/>
                    <a:gd name="connsiteY104" fmla="*/ 504008 h 1985059"/>
                    <a:gd name="connsiteX105" fmla="*/ 1020610 w 2492607"/>
                    <a:gd name="connsiteY105" fmla="*/ 498234 h 1985059"/>
                    <a:gd name="connsiteX106" fmla="*/ 986985 w 2492607"/>
                    <a:gd name="connsiteY106" fmla="*/ 491231 h 1985059"/>
                    <a:gd name="connsiteX107" fmla="*/ 971524 w 2492607"/>
                    <a:gd name="connsiteY107" fmla="*/ 489366 h 1985059"/>
                    <a:gd name="connsiteX108" fmla="*/ 958338 w 2492607"/>
                    <a:gd name="connsiteY108" fmla="*/ 486598 h 1985059"/>
                    <a:gd name="connsiteX109" fmla="*/ 942188 w 2492607"/>
                    <a:gd name="connsiteY109" fmla="*/ 485772 h 1985059"/>
                    <a:gd name="connsiteX110" fmla="*/ 918297 w 2492607"/>
                    <a:gd name="connsiteY110" fmla="*/ 482765 h 1985059"/>
                    <a:gd name="connsiteX111" fmla="*/ 885966 w 2492607"/>
                    <a:gd name="connsiteY111" fmla="*/ 481381 h 1985059"/>
                    <a:gd name="connsiteX112" fmla="*/ 875093 w 2492607"/>
                    <a:gd name="connsiteY112" fmla="*/ 480912 h 1985059"/>
                    <a:gd name="connsiteX113" fmla="*/ 846611 w 2492607"/>
                    <a:gd name="connsiteY113" fmla="*/ 482190 h 1985059"/>
                    <a:gd name="connsiteX114" fmla="*/ 814423 w 2492607"/>
                    <a:gd name="connsiteY114" fmla="*/ 485037 h 1985059"/>
                    <a:gd name="connsiteX115" fmla="*/ 784965 w 2492607"/>
                    <a:gd name="connsiteY115" fmla="*/ 490656 h 1985059"/>
                    <a:gd name="connsiteX116" fmla="*/ 757200 w 2492607"/>
                    <a:gd name="connsiteY116" fmla="*/ 495879 h 1985059"/>
                    <a:gd name="connsiteX117" fmla="*/ 755929 w 2492607"/>
                    <a:gd name="connsiteY117" fmla="*/ 496040 h 1985059"/>
                    <a:gd name="connsiteX118" fmla="*/ 754975 w 2492607"/>
                    <a:gd name="connsiteY118" fmla="*/ 496366 h 1985059"/>
                    <a:gd name="connsiteX119" fmla="*/ 752198 w 2492607"/>
                    <a:gd name="connsiteY119" fmla="*/ 497252 h 1985059"/>
                    <a:gd name="connsiteX120" fmla="*/ 748795 w 2492607"/>
                    <a:gd name="connsiteY120" fmla="*/ 492187 h 1985059"/>
                    <a:gd name="connsiteX121" fmla="*/ 733472 w 2492607"/>
                    <a:gd name="connsiteY121" fmla="*/ 495069 h 1985059"/>
                    <a:gd name="connsiteX122" fmla="*/ 732201 w 2492607"/>
                    <a:gd name="connsiteY122" fmla="*/ 495230 h 1985059"/>
                    <a:gd name="connsiteX123" fmla="*/ 731247 w 2492607"/>
                    <a:gd name="connsiteY123" fmla="*/ 495557 h 1985059"/>
                    <a:gd name="connsiteX124" fmla="*/ 705195 w 2492607"/>
                    <a:gd name="connsiteY124" fmla="*/ 503853 h 1985059"/>
                    <a:gd name="connsiteX125" fmla="*/ 688240 w 2492607"/>
                    <a:gd name="connsiteY125" fmla="*/ 509768 h 1985059"/>
                    <a:gd name="connsiteX126" fmla="*/ 675699 w 2492607"/>
                    <a:gd name="connsiteY126" fmla="*/ 515340 h 1985059"/>
                    <a:gd name="connsiteX127" fmla="*/ 649115 w 2492607"/>
                    <a:gd name="connsiteY127" fmla="*/ 530732 h 1985059"/>
                    <a:gd name="connsiteX128" fmla="*/ 625261 w 2492607"/>
                    <a:gd name="connsiteY128" fmla="*/ 546203 h 1985059"/>
                    <a:gd name="connsiteX129" fmla="*/ 602845 w 2492607"/>
                    <a:gd name="connsiteY129" fmla="*/ 562981 h 1985059"/>
                    <a:gd name="connsiteX130" fmla="*/ 581722 w 2492607"/>
                    <a:gd name="connsiteY130" fmla="*/ 583992 h 1985059"/>
                    <a:gd name="connsiteX131" fmla="*/ 499507 w 2492607"/>
                    <a:gd name="connsiteY131" fmla="*/ 670076 h 1985059"/>
                    <a:gd name="connsiteX132" fmla="*/ 490861 w 2492607"/>
                    <a:gd name="connsiteY132" fmla="*/ 663718 h 1985059"/>
                    <a:gd name="connsiteX133" fmla="*/ 475692 w 2492607"/>
                    <a:gd name="connsiteY133" fmla="*/ 679601 h 1985059"/>
                    <a:gd name="connsiteX134" fmla="*/ 403000 w 2492607"/>
                    <a:gd name="connsiteY134" fmla="*/ 626145 h 1985059"/>
                    <a:gd name="connsiteX135" fmla="*/ 0 w 2492607"/>
                    <a:gd name="connsiteY135" fmla="*/ 329779 h 1985059"/>
                    <a:gd name="connsiteX136" fmla="*/ 54665 w 2492607"/>
                    <a:gd name="connsiteY136" fmla="*/ 246335 h 1985059"/>
                    <a:gd name="connsiteX137" fmla="*/ 120836 w 2492607"/>
                    <a:gd name="connsiteY137" fmla="*/ 175837 h 1985059"/>
                    <a:gd name="connsiteX138" fmla="*/ 234478 w 2492607"/>
                    <a:gd name="connsiteY138" fmla="*/ 93831 h 1985059"/>
                    <a:gd name="connsiteX139" fmla="*/ 363943 w 2492607"/>
                    <a:gd name="connsiteY139" fmla="*/ 40599 h 1985059"/>
                    <a:gd name="connsiteX140" fmla="*/ 365149 w 2492607"/>
                    <a:gd name="connsiteY140" fmla="*/ 40370 h 1985059"/>
                    <a:gd name="connsiteX141" fmla="*/ 387758 w 2492607"/>
                    <a:gd name="connsiteY141" fmla="*/ 31074 h 1985059"/>
                    <a:gd name="connsiteX142" fmla="*/ 531609 w 2492607"/>
                    <a:gd name="connsiteY142" fmla="*/ 3738 h 1985059"/>
                    <a:gd name="connsiteX143" fmla="*/ 686968 w 2492607"/>
                    <a:gd name="connsiteY143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14678 w 2492607"/>
                    <a:gd name="connsiteY8" fmla="*/ 922757 h 1985059"/>
                    <a:gd name="connsiteX9" fmla="*/ 2118281 w 2492607"/>
                    <a:gd name="connsiteY9" fmla="*/ 927390 h 1985059"/>
                    <a:gd name="connsiteX10" fmla="*/ 2149377 w 2492607"/>
                    <a:gd name="connsiteY10" fmla="*/ 982592 h 1985059"/>
                    <a:gd name="connsiteX11" fmla="*/ 2154267 w 2492607"/>
                    <a:gd name="connsiteY11" fmla="*/ 980764 h 1985059"/>
                    <a:gd name="connsiteX12" fmla="*/ 2492445 w 2492607"/>
                    <a:gd name="connsiteY12" fmla="*/ 1974724 h 1985059"/>
                    <a:gd name="connsiteX13" fmla="*/ 2491971 w 2492607"/>
                    <a:gd name="connsiteY13" fmla="*/ 1974439 h 1985059"/>
                    <a:gd name="connsiteX14" fmla="*/ 2492357 w 2492607"/>
                    <a:gd name="connsiteY14" fmla="*/ 1985059 h 1985059"/>
                    <a:gd name="connsiteX15" fmla="*/ 2479330 w 2492607"/>
                    <a:gd name="connsiteY15" fmla="*/ 1977229 h 1985059"/>
                    <a:gd name="connsiteX16" fmla="*/ 2468130 w 2492607"/>
                    <a:gd name="connsiteY16" fmla="*/ 1970497 h 1985059"/>
                    <a:gd name="connsiteX17" fmla="*/ 2468630 w 2492607"/>
                    <a:gd name="connsiteY17" fmla="*/ 1984249 h 1985059"/>
                    <a:gd name="connsiteX18" fmla="*/ 2099863 w 2492607"/>
                    <a:gd name="connsiteY18" fmla="*/ 1762610 h 1985059"/>
                    <a:gd name="connsiteX19" fmla="*/ 2024341 w 2492607"/>
                    <a:gd name="connsiteY19" fmla="*/ 1717219 h 1985059"/>
                    <a:gd name="connsiteX20" fmla="*/ 2065487 w 2492607"/>
                    <a:gd name="connsiteY20" fmla="*/ 1683261 h 1985059"/>
                    <a:gd name="connsiteX21" fmla="*/ 2065686 w 2492607"/>
                    <a:gd name="connsiteY21" fmla="*/ 1681963 h 1985059"/>
                    <a:gd name="connsiteX22" fmla="*/ 2040086 w 2492607"/>
                    <a:gd name="connsiteY22" fmla="*/ 1703090 h 1985059"/>
                    <a:gd name="connsiteX23" fmla="*/ 2042890 w 2492607"/>
                    <a:gd name="connsiteY23" fmla="*/ 1684867 h 1985059"/>
                    <a:gd name="connsiteX24" fmla="*/ 2042890 w 2492607"/>
                    <a:gd name="connsiteY24" fmla="*/ 1666640 h 1985059"/>
                    <a:gd name="connsiteX25" fmla="*/ 2042890 w 2492607"/>
                    <a:gd name="connsiteY25" fmla="*/ 1649818 h 1985059"/>
                    <a:gd name="connsiteX26" fmla="*/ 2040086 w 2492607"/>
                    <a:gd name="connsiteY26" fmla="*/ 1630190 h 1985059"/>
                    <a:gd name="connsiteX27" fmla="*/ 2040086 w 2492607"/>
                    <a:gd name="connsiteY27" fmla="*/ 1611966 h 1985059"/>
                    <a:gd name="connsiteX28" fmla="*/ 2038684 w 2492607"/>
                    <a:gd name="connsiteY28" fmla="*/ 1593741 h 1985059"/>
                    <a:gd name="connsiteX29" fmla="*/ 2035880 w 2492607"/>
                    <a:gd name="connsiteY29" fmla="*/ 1574114 h 1985059"/>
                    <a:gd name="connsiteX30" fmla="*/ 2034478 w 2492607"/>
                    <a:gd name="connsiteY30" fmla="*/ 1555890 h 1985059"/>
                    <a:gd name="connsiteX31" fmla="*/ 2031674 w 2492607"/>
                    <a:gd name="connsiteY31" fmla="*/ 1537665 h 1985059"/>
                    <a:gd name="connsiteX32" fmla="*/ 2028871 w 2492607"/>
                    <a:gd name="connsiteY32" fmla="*/ 1518039 h 1985059"/>
                    <a:gd name="connsiteX33" fmla="*/ 2024665 w 2492607"/>
                    <a:gd name="connsiteY33" fmla="*/ 1499812 h 1985059"/>
                    <a:gd name="connsiteX34" fmla="*/ 2020459 w 2492607"/>
                    <a:gd name="connsiteY34" fmla="*/ 1481588 h 1985059"/>
                    <a:gd name="connsiteX35" fmla="*/ 2016253 w 2492607"/>
                    <a:gd name="connsiteY35" fmla="*/ 1461961 h 1985059"/>
                    <a:gd name="connsiteX36" fmla="*/ 2010646 w 2492607"/>
                    <a:gd name="connsiteY36" fmla="*/ 1442335 h 1985059"/>
                    <a:gd name="connsiteX37" fmla="*/ 2005038 w 2492607"/>
                    <a:gd name="connsiteY37" fmla="*/ 1424108 h 1985059"/>
                    <a:gd name="connsiteX38" fmla="*/ 1999430 w 2492607"/>
                    <a:gd name="connsiteY38" fmla="*/ 1403081 h 1985059"/>
                    <a:gd name="connsiteX39" fmla="*/ 1993823 w 2492607"/>
                    <a:gd name="connsiteY39" fmla="*/ 1384856 h 1985059"/>
                    <a:gd name="connsiteX40" fmla="*/ 1985411 w 2492607"/>
                    <a:gd name="connsiteY40" fmla="*/ 1365228 h 1985059"/>
                    <a:gd name="connsiteX41" fmla="*/ 1978401 w 2492607"/>
                    <a:gd name="connsiteY41" fmla="*/ 1347004 h 1985059"/>
                    <a:gd name="connsiteX42" fmla="*/ 1971392 w 2492607"/>
                    <a:gd name="connsiteY42" fmla="*/ 1327377 h 1985059"/>
                    <a:gd name="connsiteX43" fmla="*/ 1962980 w 2492607"/>
                    <a:gd name="connsiteY43" fmla="*/ 1307750 h 1985059"/>
                    <a:gd name="connsiteX44" fmla="*/ 1955971 w 2492607"/>
                    <a:gd name="connsiteY44" fmla="*/ 1288124 h 1985059"/>
                    <a:gd name="connsiteX45" fmla="*/ 1947559 w 2492607"/>
                    <a:gd name="connsiteY45" fmla="*/ 1269897 h 1985059"/>
                    <a:gd name="connsiteX46" fmla="*/ 1937746 w 2492607"/>
                    <a:gd name="connsiteY46" fmla="*/ 1250272 h 1985059"/>
                    <a:gd name="connsiteX47" fmla="*/ 1927933 w 2492607"/>
                    <a:gd name="connsiteY47" fmla="*/ 1232047 h 1985059"/>
                    <a:gd name="connsiteX48" fmla="*/ 1918119 w 2492607"/>
                    <a:gd name="connsiteY48" fmla="*/ 1212419 h 1985059"/>
                    <a:gd name="connsiteX49" fmla="*/ 1908306 w 2492607"/>
                    <a:gd name="connsiteY49" fmla="*/ 1192792 h 1985059"/>
                    <a:gd name="connsiteX50" fmla="*/ 1898492 w 2492607"/>
                    <a:gd name="connsiteY50" fmla="*/ 1174568 h 1985059"/>
                    <a:gd name="connsiteX51" fmla="*/ 1887277 w 2492607"/>
                    <a:gd name="connsiteY51" fmla="*/ 1156343 h 1985059"/>
                    <a:gd name="connsiteX52" fmla="*/ 1874659 w 2492607"/>
                    <a:gd name="connsiteY52" fmla="*/ 1136716 h 1985059"/>
                    <a:gd name="connsiteX53" fmla="*/ 1863445 w 2492607"/>
                    <a:gd name="connsiteY53" fmla="*/ 1118491 h 1985059"/>
                    <a:gd name="connsiteX54" fmla="*/ 1852229 w 2492607"/>
                    <a:gd name="connsiteY54" fmla="*/ 1100266 h 1985059"/>
                    <a:gd name="connsiteX55" fmla="*/ 1852818 w 2492607"/>
                    <a:gd name="connsiteY55" fmla="*/ 1099737 h 1985059"/>
                    <a:gd name="connsiteX56" fmla="*/ 1807405 w 2492607"/>
                    <a:gd name="connsiteY56" fmla="*/ 1032970 h 1985059"/>
                    <a:gd name="connsiteX57" fmla="*/ 1798928 w 2492607"/>
                    <a:gd name="connsiteY57" fmla="*/ 1021733 h 1985059"/>
                    <a:gd name="connsiteX58" fmla="*/ 1791886 w 2492607"/>
                    <a:gd name="connsiteY58" fmla="*/ 1011959 h 1985059"/>
                    <a:gd name="connsiteX59" fmla="*/ 1782114 w 2492607"/>
                    <a:gd name="connsiteY59" fmla="*/ 1000723 h 1985059"/>
                    <a:gd name="connsiteX60" fmla="*/ 1773779 w 2492607"/>
                    <a:gd name="connsiteY60" fmla="*/ 989484 h 1985059"/>
                    <a:gd name="connsiteX61" fmla="*/ 1763865 w 2492607"/>
                    <a:gd name="connsiteY61" fmla="*/ 976863 h 1985059"/>
                    <a:gd name="connsiteX62" fmla="*/ 1755531 w 2492607"/>
                    <a:gd name="connsiteY62" fmla="*/ 965704 h 1985059"/>
                    <a:gd name="connsiteX63" fmla="*/ 1747052 w 2492607"/>
                    <a:gd name="connsiteY63" fmla="*/ 954467 h 1985059"/>
                    <a:gd name="connsiteX64" fmla="*/ 1737281 w 2492607"/>
                    <a:gd name="connsiteY64" fmla="*/ 944691 h 1985059"/>
                    <a:gd name="connsiteX65" fmla="*/ 1727509 w 2492607"/>
                    <a:gd name="connsiteY65" fmla="*/ 933454 h 1985059"/>
                    <a:gd name="connsiteX66" fmla="*/ 1719031 w 2492607"/>
                    <a:gd name="connsiteY66" fmla="*/ 922217 h 1985059"/>
                    <a:gd name="connsiteX67" fmla="*/ 1707823 w 2492607"/>
                    <a:gd name="connsiteY67" fmla="*/ 910981 h 1985059"/>
                    <a:gd name="connsiteX68" fmla="*/ 1698051 w 2492607"/>
                    <a:gd name="connsiteY68" fmla="*/ 901207 h 1985059"/>
                    <a:gd name="connsiteX69" fmla="*/ 1688136 w 2492607"/>
                    <a:gd name="connsiteY69" fmla="*/ 889969 h 1985059"/>
                    <a:gd name="connsiteX70" fmla="*/ 1678365 w 2492607"/>
                    <a:gd name="connsiteY70" fmla="*/ 880194 h 1985059"/>
                    <a:gd name="connsiteX71" fmla="*/ 1668593 w 2492607"/>
                    <a:gd name="connsiteY71" fmla="*/ 867571 h 1985059"/>
                    <a:gd name="connsiteX72" fmla="*/ 1657385 w 2492607"/>
                    <a:gd name="connsiteY72" fmla="*/ 857721 h 1985059"/>
                    <a:gd name="connsiteX73" fmla="*/ 1647614 w 2492607"/>
                    <a:gd name="connsiteY73" fmla="*/ 847946 h 1985059"/>
                    <a:gd name="connsiteX74" fmla="*/ 1637699 w 2492607"/>
                    <a:gd name="connsiteY74" fmla="*/ 838095 h 1985059"/>
                    <a:gd name="connsiteX75" fmla="*/ 1626490 w 2492607"/>
                    <a:gd name="connsiteY75" fmla="*/ 828320 h 1985059"/>
                    <a:gd name="connsiteX76" fmla="*/ 1616719 w 2492607"/>
                    <a:gd name="connsiteY76" fmla="*/ 817082 h 1985059"/>
                    <a:gd name="connsiteX77" fmla="*/ 1604074 w 2492607"/>
                    <a:gd name="connsiteY77" fmla="*/ 807231 h 1985059"/>
                    <a:gd name="connsiteX78" fmla="*/ 1594302 w 2492607"/>
                    <a:gd name="connsiteY78" fmla="*/ 797456 h 1985059"/>
                    <a:gd name="connsiteX79" fmla="*/ 1583094 w 2492607"/>
                    <a:gd name="connsiteY79" fmla="*/ 787605 h 1985059"/>
                    <a:gd name="connsiteX80" fmla="*/ 1571886 w 2492607"/>
                    <a:gd name="connsiteY80" fmla="*/ 779215 h 1985059"/>
                    <a:gd name="connsiteX81" fmla="*/ 1560677 w 2492607"/>
                    <a:gd name="connsiteY81" fmla="*/ 769442 h 1985059"/>
                    <a:gd name="connsiteX82" fmla="*/ 1548032 w 2492607"/>
                    <a:gd name="connsiteY82" fmla="*/ 758204 h 1985059"/>
                    <a:gd name="connsiteX83" fmla="*/ 1536824 w 2492607"/>
                    <a:gd name="connsiteY83" fmla="*/ 749814 h 1985059"/>
                    <a:gd name="connsiteX84" fmla="*/ 1525616 w 2492607"/>
                    <a:gd name="connsiteY84" fmla="*/ 739962 h 1985059"/>
                    <a:gd name="connsiteX85" fmla="*/ 1514407 w 2492607"/>
                    <a:gd name="connsiteY85" fmla="*/ 731574 h 1985059"/>
                    <a:gd name="connsiteX86" fmla="*/ 1503200 w 2492607"/>
                    <a:gd name="connsiteY86" fmla="*/ 721723 h 1985059"/>
                    <a:gd name="connsiteX87" fmla="*/ 1490554 w 2492607"/>
                    <a:gd name="connsiteY87" fmla="*/ 713333 h 1985059"/>
                    <a:gd name="connsiteX88" fmla="*/ 1454055 w 2492607"/>
                    <a:gd name="connsiteY88" fmla="*/ 686703 h 1985059"/>
                    <a:gd name="connsiteX89" fmla="*/ 1417700 w 2492607"/>
                    <a:gd name="connsiteY89" fmla="*/ 662843 h 1985059"/>
                    <a:gd name="connsiteX90" fmla="*/ 1381200 w 2492607"/>
                    <a:gd name="connsiteY90" fmla="*/ 639062 h 1985059"/>
                    <a:gd name="connsiteX91" fmla="*/ 1346139 w 2492607"/>
                    <a:gd name="connsiteY91" fmla="*/ 619435 h 1985059"/>
                    <a:gd name="connsiteX92" fmla="*/ 1309639 w 2492607"/>
                    <a:gd name="connsiteY92" fmla="*/ 598347 h 1985059"/>
                    <a:gd name="connsiteX93" fmla="*/ 1273284 w 2492607"/>
                    <a:gd name="connsiteY93" fmla="*/ 581569 h 1985059"/>
                    <a:gd name="connsiteX94" fmla="*/ 1238223 w 2492607"/>
                    <a:gd name="connsiteY94" fmla="*/ 566099 h 1985059"/>
                    <a:gd name="connsiteX95" fmla="*/ 1201723 w 2492607"/>
                    <a:gd name="connsiteY95" fmla="*/ 550706 h 1985059"/>
                    <a:gd name="connsiteX96" fmla="*/ 1165225 w 2492607"/>
                    <a:gd name="connsiteY96" fmla="*/ 538084 h 1985059"/>
                    <a:gd name="connsiteX97" fmla="*/ 1131599 w 2492607"/>
                    <a:gd name="connsiteY97" fmla="*/ 525460 h 1985059"/>
                    <a:gd name="connsiteX98" fmla="*/ 1096537 w 2492607"/>
                    <a:gd name="connsiteY98" fmla="*/ 515686 h 1985059"/>
                    <a:gd name="connsiteX99" fmla="*/ 1082711 w 2492607"/>
                    <a:gd name="connsiteY99" fmla="*/ 512913 h 1985059"/>
                    <a:gd name="connsiteX100" fmla="*/ 1082708 w 2492607"/>
                    <a:gd name="connsiteY100" fmla="*/ 512913 h 1985059"/>
                    <a:gd name="connsiteX101" fmla="*/ 1071644 w 2492607"/>
                    <a:gd name="connsiteY101" fmla="*/ 510693 h 1985059"/>
                    <a:gd name="connsiteX102" fmla="*/ 1069393 w 2492607"/>
                    <a:gd name="connsiteY102" fmla="*/ 509898 h 1985059"/>
                    <a:gd name="connsiteX103" fmla="*/ 1041317 w 2492607"/>
                    <a:gd name="connsiteY103" fmla="*/ 504008 h 1985059"/>
                    <a:gd name="connsiteX104" fmla="*/ 1020610 w 2492607"/>
                    <a:gd name="connsiteY104" fmla="*/ 498234 h 1985059"/>
                    <a:gd name="connsiteX105" fmla="*/ 986985 w 2492607"/>
                    <a:gd name="connsiteY105" fmla="*/ 491231 h 1985059"/>
                    <a:gd name="connsiteX106" fmla="*/ 971524 w 2492607"/>
                    <a:gd name="connsiteY106" fmla="*/ 489366 h 1985059"/>
                    <a:gd name="connsiteX107" fmla="*/ 958338 w 2492607"/>
                    <a:gd name="connsiteY107" fmla="*/ 486598 h 1985059"/>
                    <a:gd name="connsiteX108" fmla="*/ 942188 w 2492607"/>
                    <a:gd name="connsiteY108" fmla="*/ 485772 h 1985059"/>
                    <a:gd name="connsiteX109" fmla="*/ 918297 w 2492607"/>
                    <a:gd name="connsiteY109" fmla="*/ 482765 h 1985059"/>
                    <a:gd name="connsiteX110" fmla="*/ 885966 w 2492607"/>
                    <a:gd name="connsiteY110" fmla="*/ 481381 h 1985059"/>
                    <a:gd name="connsiteX111" fmla="*/ 875093 w 2492607"/>
                    <a:gd name="connsiteY111" fmla="*/ 480912 h 1985059"/>
                    <a:gd name="connsiteX112" fmla="*/ 846611 w 2492607"/>
                    <a:gd name="connsiteY112" fmla="*/ 482190 h 1985059"/>
                    <a:gd name="connsiteX113" fmla="*/ 814423 w 2492607"/>
                    <a:gd name="connsiteY113" fmla="*/ 485037 h 1985059"/>
                    <a:gd name="connsiteX114" fmla="*/ 784965 w 2492607"/>
                    <a:gd name="connsiteY114" fmla="*/ 490656 h 1985059"/>
                    <a:gd name="connsiteX115" fmla="*/ 757200 w 2492607"/>
                    <a:gd name="connsiteY115" fmla="*/ 495879 h 1985059"/>
                    <a:gd name="connsiteX116" fmla="*/ 755929 w 2492607"/>
                    <a:gd name="connsiteY116" fmla="*/ 496040 h 1985059"/>
                    <a:gd name="connsiteX117" fmla="*/ 754975 w 2492607"/>
                    <a:gd name="connsiteY117" fmla="*/ 496366 h 1985059"/>
                    <a:gd name="connsiteX118" fmla="*/ 752198 w 2492607"/>
                    <a:gd name="connsiteY118" fmla="*/ 497252 h 1985059"/>
                    <a:gd name="connsiteX119" fmla="*/ 748795 w 2492607"/>
                    <a:gd name="connsiteY119" fmla="*/ 492187 h 1985059"/>
                    <a:gd name="connsiteX120" fmla="*/ 733472 w 2492607"/>
                    <a:gd name="connsiteY120" fmla="*/ 495069 h 1985059"/>
                    <a:gd name="connsiteX121" fmla="*/ 732201 w 2492607"/>
                    <a:gd name="connsiteY121" fmla="*/ 495230 h 1985059"/>
                    <a:gd name="connsiteX122" fmla="*/ 731247 w 2492607"/>
                    <a:gd name="connsiteY122" fmla="*/ 495557 h 1985059"/>
                    <a:gd name="connsiteX123" fmla="*/ 705195 w 2492607"/>
                    <a:gd name="connsiteY123" fmla="*/ 503853 h 1985059"/>
                    <a:gd name="connsiteX124" fmla="*/ 688240 w 2492607"/>
                    <a:gd name="connsiteY124" fmla="*/ 509768 h 1985059"/>
                    <a:gd name="connsiteX125" fmla="*/ 675699 w 2492607"/>
                    <a:gd name="connsiteY125" fmla="*/ 515340 h 1985059"/>
                    <a:gd name="connsiteX126" fmla="*/ 649115 w 2492607"/>
                    <a:gd name="connsiteY126" fmla="*/ 530732 h 1985059"/>
                    <a:gd name="connsiteX127" fmla="*/ 625261 w 2492607"/>
                    <a:gd name="connsiteY127" fmla="*/ 546203 h 1985059"/>
                    <a:gd name="connsiteX128" fmla="*/ 602845 w 2492607"/>
                    <a:gd name="connsiteY128" fmla="*/ 562981 h 1985059"/>
                    <a:gd name="connsiteX129" fmla="*/ 581722 w 2492607"/>
                    <a:gd name="connsiteY129" fmla="*/ 583992 h 1985059"/>
                    <a:gd name="connsiteX130" fmla="*/ 499507 w 2492607"/>
                    <a:gd name="connsiteY130" fmla="*/ 670076 h 1985059"/>
                    <a:gd name="connsiteX131" fmla="*/ 490861 w 2492607"/>
                    <a:gd name="connsiteY131" fmla="*/ 663718 h 1985059"/>
                    <a:gd name="connsiteX132" fmla="*/ 475692 w 2492607"/>
                    <a:gd name="connsiteY132" fmla="*/ 679601 h 1985059"/>
                    <a:gd name="connsiteX133" fmla="*/ 403000 w 2492607"/>
                    <a:gd name="connsiteY133" fmla="*/ 626145 h 1985059"/>
                    <a:gd name="connsiteX134" fmla="*/ 0 w 2492607"/>
                    <a:gd name="connsiteY134" fmla="*/ 329779 h 1985059"/>
                    <a:gd name="connsiteX135" fmla="*/ 54665 w 2492607"/>
                    <a:gd name="connsiteY135" fmla="*/ 246335 h 1985059"/>
                    <a:gd name="connsiteX136" fmla="*/ 120836 w 2492607"/>
                    <a:gd name="connsiteY136" fmla="*/ 175837 h 1985059"/>
                    <a:gd name="connsiteX137" fmla="*/ 234478 w 2492607"/>
                    <a:gd name="connsiteY137" fmla="*/ 93831 h 1985059"/>
                    <a:gd name="connsiteX138" fmla="*/ 363943 w 2492607"/>
                    <a:gd name="connsiteY138" fmla="*/ 40599 h 1985059"/>
                    <a:gd name="connsiteX139" fmla="*/ 365149 w 2492607"/>
                    <a:gd name="connsiteY139" fmla="*/ 40370 h 1985059"/>
                    <a:gd name="connsiteX140" fmla="*/ 387758 w 2492607"/>
                    <a:gd name="connsiteY140" fmla="*/ 31074 h 1985059"/>
                    <a:gd name="connsiteX141" fmla="*/ 531609 w 2492607"/>
                    <a:gd name="connsiteY141" fmla="*/ 3738 h 1985059"/>
                    <a:gd name="connsiteX142" fmla="*/ 686968 w 2492607"/>
                    <a:gd name="connsiteY142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14678 w 2492607"/>
                    <a:gd name="connsiteY8" fmla="*/ 922757 h 1985059"/>
                    <a:gd name="connsiteX9" fmla="*/ 2149377 w 2492607"/>
                    <a:gd name="connsiteY9" fmla="*/ 982592 h 1985059"/>
                    <a:gd name="connsiteX10" fmla="*/ 2154267 w 2492607"/>
                    <a:gd name="connsiteY10" fmla="*/ 980764 h 1985059"/>
                    <a:gd name="connsiteX11" fmla="*/ 2492445 w 2492607"/>
                    <a:gd name="connsiteY11" fmla="*/ 1974724 h 1985059"/>
                    <a:gd name="connsiteX12" fmla="*/ 2491971 w 2492607"/>
                    <a:gd name="connsiteY12" fmla="*/ 1974439 h 1985059"/>
                    <a:gd name="connsiteX13" fmla="*/ 2492357 w 2492607"/>
                    <a:gd name="connsiteY13" fmla="*/ 1985059 h 1985059"/>
                    <a:gd name="connsiteX14" fmla="*/ 2479330 w 2492607"/>
                    <a:gd name="connsiteY14" fmla="*/ 1977229 h 1985059"/>
                    <a:gd name="connsiteX15" fmla="*/ 2468130 w 2492607"/>
                    <a:gd name="connsiteY15" fmla="*/ 1970497 h 1985059"/>
                    <a:gd name="connsiteX16" fmla="*/ 2468630 w 2492607"/>
                    <a:gd name="connsiteY16" fmla="*/ 1984249 h 1985059"/>
                    <a:gd name="connsiteX17" fmla="*/ 2099863 w 2492607"/>
                    <a:gd name="connsiteY17" fmla="*/ 1762610 h 1985059"/>
                    <a:gd name="connsiteX18" fmla="*/ 2024341 w 2492607"/>
                    <a:gd name="connsiteY18" fmla="*/ 1717219 h 1985059"/>
                    <a:gd name="connsiteX19" fmla="*/ 2065487 w 2492607"/>
                    <a:gd name="connsiteY19" fmla="*/ 1683261 h 1985059"/>
                    <a:gd name="connsiteX20" fmla="*/ 2065686 w 2492607"/>
                    <a:gd name="connsiteY20" fmla="*/ 1681963 h 1985059"/>
                    <a:gd name="connsiteX21" fmla="*/ 2040086 w 2492607"/>
                    <a:gd name="connsiteY21" fmla="*/ 1703090 h 1985059"/>
                    <a:gd name="connsiteX22" fmla="*/ 2042890 w 2492607"/>
                    <a:gd name="connsiteY22" fmla="*/ 1684867 h 1985059"/>
                    <a:gd name="connsiteX23" fmla="*/ 2042890 w 2492607"/>
                    <a:gd name="connsiteY23" fmla="*/ 1666640 h 1985059"/>
                    <a:gd name="connsiteX24" fmla="*/ 2042890 w 2492607"/>
                    <a:gd name="connsiteY24" fmla="*/ 1649818 h 1985059"/>
                    <a:gd name="connsiteX25" fmla="*/ 2040086 w 2492607"/>
                    <a:gd name="connsiteY25" fmla="*/ 1630190 h 1985059"/>
                    <a:gd name="connsiteX26" fmla="*/ 2040086 w 2492607"/>
                    <a:gd name="connsiteY26" fmla="*/ 1611966 h 1985059"/>
                    <a:gd name="connsiteX27" fmla="*/ 2038684 w 2492607"/>
                    <a:gd name="connsiteY27" fmla="*/ 1593741 h 1985059"/>
                    <a:gd name="connsiteX28" fmla="*/ 2035880 w 2492607"/>
                    <a:gd name="connsiteY28" fmla="*/ 1574114 h 1985059"/>
                    <a:gd name="connsiteX29" fmla="*/ 2034478 w 2492607"/>
                    <a:gd name="connsiteY29" fmla="*/ 1555890 h 1985059"/>
                    <a:gd name="connsiteX30" fmla="*/ 2031674 w 2492607"/>
                    <a:gd name="connsiteY30" fmla="*/ 1537665 h 1985059"/>
                    <a:gd name="connsiteX31" fmla="*/ 2028871 w 2492607"/>
                    <a:gd name="connsiteY31" fmla="*/ 1518039 h 1985059"/>
                    <a:gd name="connsiteX32" fmla="*/ 2024665 w 2492607"/>
                    <a:gd name="connsiteY32" fmla="*/ 1499812 h 1985059"/>
                    <a:gd name="connsiteX33" fmla="*/ 2020459 w 2492607"/>
                    <a:gd name="connsiteY33" fmla="*/ 1481588 h 1985059"/>
                    <a:gd name="connsiteX34" fmla="*/ 2016253 w 2492607"/>
                    <a:gd name="connsiteY34" fmla="*/ 1461961 h 1985059"/>
                    <a:gd name="connsiteX35" fmla="*/ 2010646 w 2492607"/>
                    <a:gd name="connsiteY35" fmla="*/ 1442335 h 1985059"/>
                    <a:gd name="connsiteX36" fmla="*/ 2005038 w 2492607"/>
                    <a:gd name="connsiteY36" fmla="*/ 1424108 h 1985059"/>
                    <a:gd name="connsiteX37" fmla="*/ 1999430 w 2492607"/>
                    <a:gd name="connsiteY37" fmla="*/ 1403081 h 1985059"/>
                    <a:gd name="connsiteX38" fmla="*/ 1993823 w 2492607"/>
                    <a:gd name="connsiteY38" fmla="*/ 1384856 h 1985059"/>
                    <a:gd name="connsiteX39" fmla="*/ 1985411 w 2492607"/>
                    <a:gd name="connsiteY39" fmla="*/ 1365228 h 1985059"/>
                    <a:gd name="connsiteX40" fmla="*/ 1978401 w 2492607"/>
                    <a:gd name="connsiteY40" fmla="*/ 1347004 h 1985059"/>
                    <a:gd name="connsiteX41" fmla="*/ 1971392 w 2492607"/>
                    <a:gd name="connsiteY41" fmla="*/ 1327377 h 1985059"/>
                    <a:gd name="connsiteX42" fmla="*/ 1962980 w 2492607"/>
                    <a:gd name="connsiteY42" fmla="*/ 1307750 h 1985059"/>
                    <a:gd name="connsiteX43" fmla="*/ 1955971 w 2492607"/>
                    <a:gd name="connsiteY43" fmla="*/ 1288124 h 1985059"/>
                    <a:gd name="connsiteX44" fmla="*/ 1947559 w 2492607"/>
                    <a:gd name="connsiteY44" fmla="*/ 1269897 h 1985059"/>
                    <a:gd name="connsiteX45" fmla="*/ 1937746 w 2492607"/>
                    <a:gd name="connsiteY45" fmla="*/ 1250272 h 1985059"/>
                    <a:gd name="connsiteX46" fmla="*/ 1927933 w 2492607"/>
                    <a:gd name="connsiteY46" fmla="*/ 1232047 h 1985059"/>
                    <a:gd name="connsiteX47" fmla="*/ 1918119 w 2492607"/>
                    <a:gd name="connsiteY47" fmla="*/ 1212419 h 1985059"/>
                    <a:gd name="connsiteX48" fmla="*/ 1908306 w 2492607"/>
                    <a:gd name="connsiteY48" fmla="*/ 1192792 h 1985059"/>
                    <a:gd name="connsiteX49" fmla="*/ 1898492 w 2492607"/>
                    <a:gd name="connsiteY49" fmla="*/ 1174568 h 1985059"/>
                    <a:gd name="connsiteX50" fmla="*/ 1887277 w 2492607"/>
                    <a:gd name="connsiteY50" fmla="*/ 1156343 h 1985059"/>
                    <a:gd name="connsiteX51" fmla="*/ 1874659 w 2492607"/>
                    <a:gd name="connsiteY51" fmla="*/ 1136716 h 1985059"/>
                    <a:gd name="connsiteX52" fmla="*/ 1863445 w 2492607"/>
                    <a:gd name="connsiteY52" fmla="*/ 1118491 h 1985059"/>
                    <a:gd name="connsiteX53" fmla="*/ 1852229 w 2492607"/>
                    <a:gd name="connsiteY53" fmla="*/ 1100266 h 1985059"/>
                    <a:gd name="connsiteX54" fmla="*/ 1852818 w 2492607"/>
                    <a:gd name="connsiteY54" fmla="*/ 1099737 h 1985059"/>
                    <a:gd name="connsiteX55" fmla="*/ 1807405 w 2492607"/>
                    <a:gd name="connsiteY55" fmla="*/ 1032970 h 1985059"/>
                    <a:gd name="connsiteX56" fmla="*/ 1798928 w 2492607"/>
                    <a:gd name="connsiteY56" fmla="*/ 1021733 h 1985059"/>
                    <a:gd name="connsiteX57" fmla="*/ 1791886 w 2492607"/>
                    <a:gd name="connsiteY57" fmla="*/ 1011959 h 1985059"/>
                    <a:gd name="connsiteX58" fmla="*/ 1782114 w 2492607"/>
                    <a:gd name="connsiteY58" fmla="*/ 1000723 h 1985059"/>
                    <a:gd name="connsiteX59" fmla="*/ 1773779 w 2492607"/>
                    <a:gd name="connsiteY59" fmla="*/ 989484 h 1985059"/>
                    <a:gd name="connsiteX60" fmla="*/ 1763865 w 2492607"/>
                    <a:gd name="connsiteY60" fmla="*/ 976863 h 1985059"/>
                    <a:gd name="connsiteX61" fmla="*/ 1755531 w 2492607"/>
                    <a:gd name="connsiteY61" fmla="*/ 965704 h 1985059"/>
                    <a:gd name="connsiteX62" fmla="*/ 1747052 w 2492607"/>
                    <a:gd name="connsiteY62" fmla="*/ 954467 h 1985059"/>
                    <a:gd name="connsiteX63" fmla="*/ 1737281 w 2492607"/>
                    <a:gd name="connsiteY63" fmla="*/ 944691 h 1985059"/>
                    <a:gd name="connsiteX64" fmla="*/ 1727509 w 2492607"/>
                    <a:gd name="connsiteY64" fmla="*/ 933454 h 1985059"/>
                    <a:gd name="connsiteX65" fmla="*/ 1719031 w 2492607"/>
                    <a:gd name="connsiteY65" fmla="*/ 922217 h 1985059"/>
                    <a:gd name="connsiteX66" fmla="*/ 1707823 w 2492607"/>
                    <a:gd name="connsiteY66" fmla="*/ 910981 h 1985059"/>
                    <a:gd name="connsiteX67" fmla="*/ 1698051 w 2492607"/>
                    <a:gd name="connsiteY67" fmla="*/ 901207 h 1985059"/>
                    <a:gd name="connsiteX68" fmla="*/ 1688136 w 2492607"/>
                    <a:gd name="connsiteY68" fmla="*/ 889969 h 1985059"/>
                    <a:gd name="connsiteX69" fmla="*/ 1678365 w 2492607"/>
                    <a:gd name="connsiteY69" fmla="*/ 880194 h 1985059"/>
                    <a:gd name="connsiteX70" fmla="*/ 1668593 w 2492607"/>
                    <a:gd name="connsiteY70" fmla="*/ 867571 h 1985059"/>
                    <a:gd name="connsiteX71" fmla="*/ 1657385 w 2492607"/>
                    <a:gd name="connsiteY71" fmla="*/ 857721 h 1985059"/>
                    <a:gd name="connsiteX72" fmla="*/ 1647614 w 2492607"/>
                    <a:gd name="connsiteY72" fmla="*/ 847946 h 1985059"/>
                    <a:gd name="connsiteX73" fmla="*/ 1637699 w 2492607"/>
                    <a:gd name="connsiteY73" fmla="*/ 838095 h 1985059"/>
                    <a:gd name="connsiteX74" fmla="*/ 1626490 w 2492607"/>
                    <a:gd name="connsiteY74" fmla="*/ 828320 h 1985059"/>
                    <a:gd name="connsiteX75" fmla="*/ 1616719 w 2492607"/>
                    <a:gd name="connsiteY75" fmla="*/ 817082 h 1985059"/>
                    <a:gd name="connsiteX76" fmla="*/ 1604074 w 2492607"/>
                    <a:gd name="connsiteY76" fmla="*/ 807231 h 1985059"/>
                    <a:gd name="connsiteX77" fmla="*/ 1594302 w 2492607"/>
                    <a:gd name="connsiteY77" fmla="*/ 797456 h 1985059"/>
                    <a:gd name="connsiteX78" fmla="*/ 1583094 w 2492607"/>
                    <a:gd name="connsiteY78" fmla="*/ 787605 h 1985059"/>
                    <a:gd name="connsiteX79" fmla="*/ 1571886 w 2492607"/>
                    <a:gd name="connsiteY79" fmla="*/ 779215 h 1985059"/>
                    <a:gd name="connsiteX80" fmla="*/ 1560677 w 2492607"/>
                    <a:gd name="connsiteY80" fmla="*/ 769442 h 1985059"/>
                    <a:gd name="connsiteX81" fmla="*/ 1548032 w 2492607"/>
                    <a:gd name="connsiteY81" fmla="*/ 758204 h 1985059"/>
                    <a:gd name="connsiteX82" fmla="*/ 1536824 w 2492607"/>
                    <a:gd name="connsiteY82" fmla="*/ 749814 h 1985059"/>
                    <a:gd name="connsiteX83" fmla="*/ 1525616 w 2492607"/>
                    <a:gd name="connsiteY83" fmla="*/ 739962 h 1985059"/>
                    <a:gd name="connsiteX84" fmla="*/ 1514407 w 2492607"/>
                    <a:gd name="connsiteY84" fmla="*/ 731574 h 1985059"/>
                    <a:gd name="connsiteX85" fmla="*/ 1503200 w 2492607"/>
                    <a:gd name="connsiteY85" fmla="*/ 721723 h 1985059"/>
                    <a:gd name="connsiteX86" fmla="*/ 1490554 w 2492607"/>
                    <a:gd name="connsiteY86" fmla="*/ 713333 h 1985059"/>
                    <a:gd name="connsiteX87" fmla="*/ 1454055 w 2492607"/>
                    <a:gd name="connsiteY87" fmla="*/ 686703 h 1985059"/>
                    <a:gd name="connsiteX88" fmla="*/ 1417700 w 2492607"/>
                    <a:gd name="connsiteY88" fmla="*/ 662843 h 1985059"/>
                    <a:gd name="connsiteX89" fmla="*/ 1381200 w 2492607"/>
                    <a:gd name="connsiteY89" fmla="*/ 639062 h 1985059"/>
                    <a:gd name="connsiteX90" fmla="*/ 1346139 w 2492607"/>
                    <a:gd name="connsiteY90" fmla="*/ 619435 h 1985059"/>
                    <a:gd name="connsiteX91" fmla="*/ 1309639 w 2492607"/>
                    <a:gd name="connsiteY91" fmla="*/ 598347 h 1985059"/>
                    <a:gd name="connsiteX92" fmla="*/ 1273284 w 2492607"/>
                    <a:gd name="connsiteY92" fmla="*/ 581569 h 1985059"/>
                    <a:gd name="connsiteX93" fmla="*/ 1238223 w 2492607"/>
                    <a:gd name="connsiteY93" fmla="*/ 566099 h 1985059"/>
                    <a:gd name="connsiteX94" fmla="*/ 1201723 w 2492607"/>
                    <a:gd name="connsiteY94" fmla="*/ 550706 h 1985059"/>
                    <a:gd name="connsiteX95" fmla="*/ 1165225 w 2492607"/>
                    <a:gd name="connsiteY95" fmla="*/ 538084 h 1985059"/>
                    <a:gd name="connsiteX96" fmla="*/ 1131599 w 2492607"/>
                    <a:gd name="connsiteY96" fmla="*/ 525460 h 1985059"/>
                    <a:gd name="connsiteX97" fmla="*/ 1096537 w 2492607"/>
                    <a:gd name="connsiteY97" fmla="*/ 515686 h 1985059"/>
                    <a:gd name="connsiteX98" fmla="*/ 1082711 w 2492607"/>
                    <a:gd name="connsiteY98" fmla="*/ 512913 h 1985059"/>
                    <a:gd name="connsiteX99" fmla="*/ 1082708 w 2492607"/>
                    <a:gd name="connsiteY99" fmla="*/ 512913 h 1985059"/>
                    <a:gd name="connsiteX100" fmla="*/ 1071644 w 2492607"/>
                    <a:gd name="connsiteY100" fmla="*/ 510693 h 1985059"/>
                    <a:gd name="connsiteX101" fmla="*/ 1069393 w 2492607"/>
                    <a:gd name="connsiteY101" fmla="*/ 509898 h 1985059"/>
                    <a:gd name="connsiteX102" fmla="*/ 1041317 w 2492607"/>
                    <a:gd name="connsiteY102" fmla="*/ 504008 h 1985059"/>
                    <a:gd name="connsiteX103" fmla="*/ 1020610 w 2492607"/>
                    <a:gd name="connsiteY103" fmla="*/ 498234 h 1985059"/>
                    <a:gd name="connsiteX104" fmla="*/ 986985 w 2492607"/>
                    <a:gd name="connsiteY104" fmla="*/ 491231 h 1985059"/>
                    <a:gd name="connsiteX105" fmla="*/ 971524 w 2492607"/>
                    <a:gd name="connsiteY105" fmla="*/ 489366 h 1985059"/>
                    <a:gd name="connsiteX106" fmla="*/ 958338 w 2492607"/>
                    <a:gd name="connsiteY106" fmla="*/ 486598 h 1985059"/>
                    <a:gd name="connsiteX107" fmla="*/ 942188 w 2492607"/>
                    <a:gd name="connsiteY107" fmla="*/ 485772 h 1985059"/>
                    <a:gd name="connsiteX108" fmla="*/ 918297 w 2492607"/>
                    <a:gd name="connsiteY108" fmla="*/ 482765 h 1985059"/>
                    <a:gd name="connsiteX109" fmla="*/ 885966 w 2492607"/>
                    <a:gd name="connsiteY109" fmla="*/ 481381 h 1985059"/>
                    <a:gd name="connsiteX110" fmla="*/ 875093 w 2492607"/>
                    <a:gd name="connsiteY110" fmla="*/ 480912 h 1985059"/>
                    <a:gd name="connsiteX111" fmla="*/ 846611 w 2492607"/>
                    <a:gd name="connsiteY111" fmla="*/ 482190 h 1985059"/>
                    <a:gd name="connsiteX112" fmla="*/ 814423 w 2492607"/>
                    <a:gd name="connsiteY112" fmla="*/ 485037 h 1985059"/>
                    <a:gd name="connsiteX113" fmla="*/ 784965 w 2492607"/>
                    <a:gd name="connsiteY113" fmla="*/ 490656 h 1985059"/>
                    <a:gd name="connsiteX114" fmla="*/ 757200 w 2492607"/>
                    <a:gd name="connsiteY114" fmla="*/ 495879 h 1985059"/>
                    <a:gd name="connsiteX115" fmla="*/ 755929 w 2492607"/>
                    <a:gd name="connsiteY115" fmla="*/ 496040 h 1985059"/>
                    <a:gd name="connsiteX116" fmla="*/ 754975 w 2492607"/>
                    <a:gd name="connsiteY116" fmla="*/ 496366 h 1985059"/>
                    <a:gd name="connsiteX117" fmla="*/ 752198 w 2492607"/>
                    <a:gd name="connsiteY117" fmla="*/ 497252 h 1985059"/>
                    <a:gd name="connsiteX118" fmla="*/ 748795 w 2492607"/>
                    <a:gd name="connsiteY118" fmla="*/ 492187 h 1985059"/>
                    <a:gd name="connsiteX119" fmla="*/ 733472 w 2492607"/>
                    <a:gd name="connsiteY119" fmla="*/ 495069 h 1985059"/>
                    <a:gd name="connsiteX120" fmla="*/ 732201 w 2492607"/>
                    <a:gd name="connsiteY120" fmla="*/ 495230 h 1985059"/>
                    <a:gd name="connsiteX121" fmla="*/ 731247 w 2492607"/>
                    <a:gd name="connsiteY121" fmla="*/ 495557 h 1985059"/>
                    <a:gd name="connsiteX122" fmla="*/ 705195 w 2492607"/>
                    <a:gd name="connsiteY122" fmla="*/ 503853 h 1985059"/>
                    <a:gd name="connsiteX123" fmla="*/ 688240 w 2492607"/>
                    <a:gd name="connsiteY123" fmla="*/ 509768 h 1985059"/>
                    <a:gd name="connsiteX124" fmla="*/ 675699 w 2492607"/>
                    <a:gd name="connsiteY124" fmla="*/ 515340 h 1985059"/>
                    <a:gd name="connsiteX125" fmla="*/ 649115 w 2492607"/>
                    <a:gd name="connsiteY125" fmla="*/ 530732 h 1985059"/>
                    <a:gd name="connsiteX126" fmla="*/ 625261 w 2492607"/>
                    <a:gd name="connsiteY126" fmla="*/ 546203 h 1985059"/>
                    <a:gd name="connsiteX127" fmla="*/ 602845 w 2492607"/>
                    <a:gd name="connsiteY127" fmla="*/ 562981 h 1985059"/>
                    <a:gd name="connsiteX128" fmla="*/ 581722 w 2492607"/>
                    <a:gd name="connsiteY128" fmla="*/ 583992 h 1985059"/>
                    <a:gd name="connsiteX129" fmla="*/ 499507 w 2492607"/>
                    <a:gd name="connsiteY129" fmla="*/ 670076 h 1985059"/>
                    <a:gd name="connsiteX130" fmla="*/ 490861 w 2492607"/>
                    <a:gd name="connsiteY130" fmla="*/ 663718 h 1985059"/>
                    <a:gd name="connsiteX131" fmla="*/ 475692 w 2492607"/>
                    <a:gd name="connsiteY131" fmla="*/ 679601 h 1985059"/>
                    <a:gd name="connsiteX132" fmla="*/ 403000 w 2492607"/>
                    <a:gd name="connsiteY132" fmla="*/ 626145 h 1985059"/>
                    <a:gd name="connsiteX133" fmla="*/ 0 w 2492607"/>
                    <a:gd name="connsiteY133" fmla="*/ 329779 h 1985059"/>
                    <a:gd name="connsiteX134" fmla="*/ 54665 w 2492607"/>
                    <a:gd name="connsiteY134" fmla="*/ 246335 h 1985059"/>
                    <a:gd name="connsiteX135" fmla="*/ 120836 w 2492607"/>
                    <a:gd name="connsiteY135" fmla="*/ 175837 h 1985059"/>
                    <a:gd name="connsiteX136" fmla="*/ 234478 w 2492607"/>
                    <a:gd name="connsiteY136" fmla="*/ 93831 h 1985059"/>
                    <a:gd name="connsiteX137" fmla="*/ 363943 w 2492607"/>
                    <a:gd name="connsiteY137" fmla="*/ 40599 h 1985059"/>
                    <a:gd name="connsiteX138" fmla="*/ 365149 w 2492607"/>
                    <a:gd name="connsiteY138" fmla="*/ 40370 h 1985059"/>
                    <a:gd name="connsiteX139" fmla="*/ 387758 w 2492607"/>
                    <a:gd name="connsiteY139" fmla="*/ 31074 h 1985059"/>
                    <a:gd name="connsiteX140" fmla="*/ 531609 w 2492607"/>
                    <a:gd name="connsiteY140" fmla="*/ 3738 h 1985059"/>
                    <a:gd name="connsiteX141" fmla="*/ 686968 w 2492607"/>
                    <a:gd name="connsiteY141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090691 w 2492607"/>
                    <a:gd name="connsiteY7" fmla="*/ 881394 h 1985059"/>
                    <a:gd name="connsiteX8" fmla="*/ 2149377 w 2492607"/>
                    <a:gd name="connsiteY8" fmla="*/ 982592 h 1985059"/>
                    <a:gd name="connsiteX9" fmla="*/ 2154267 w 2492607"/>
                    <a:gd name="connsiteY9" fmla="*/ 980764 h 1985059"/>
                    <a:gd name="connsiteX10" fmla="*/ 2492445 w 2492607"/>
                    <a:gd name="connsiteY10" fmla="*/ 1974724 h 1985059"/>
                    <a:gd name="connsiteX11" fmla="*/ 2491971 w 2492607"/>
                    <a:gd name="connsiteY11" fmla="*/ 1974439 h 1985059"/>
                    <a:gd name="connsiteX12" fmla="*/ 2492357 w 2492607"/>
                    <a:gd name="connsiteY12" fmla="*/ 1985059 h 1985059"/>
                    <a:gd name="connsiteX13" fmla="*/ 2479330 w 2492607"/>
                    <a:gd name="connsiteY13" fmla="*/ 1977229 h 1985059"/>
                    <a:gd name="connsiteX14" fmla="*/ 2468130 w 2492607"/>
                    <a:gd name="connsiteY14" fmla="*/ 1970497 h 1985059"/>
                    <a:gd name="connsiteX15" fmla="*/ 2468630 w 2492607"/>
                    <a:gd name="connsiteY15" fmla="*/ 1984249 h 1985059"/>
                    <a:gd name="connsiteX16" fmla="*/ 2099863 w 2492607"/>
                    <a:gd name="connsiteY16" fmla="*/ 1762610 h 1985059"/>
                    <a:gd name="connsiteX17" fmla="*/ 2024341 w 2492607"/>
                    <a:gd name="connsiteY17" fmla="*/ 1717219 h 1985059"/>
                    <a:gd name="connsiteX18" fmla="*/ 2065487 w 2492607"/>
                    <a:gd name="connsiteY18" fmla="*/ 1683261 h 1985059"/>
                    <a:gd name="connsiteX19" fmla="*/ 2065686 w 2492607"/>
                    <a:gd name="connsiteY19" fmla="*/ 1681963 h 1985059"/>
                    <a:gd name="connsiteX20" fmla="*/ 2040086 w 2492607"/>
                    <a:gd name="connsiteY20" fmla="*/ 1703090 h 1985059"/>
                    <a:gd name="connsiteX21" fmla="*/ 2042890 w 2492607"/>
                    <a:gd name="connsiteY21" fmla="*/ 1684867 h 1985059"/>
                    <a:gd name="connsiteX22" fmla="*/ 2042890 w 2492607"/>
                    <a:gd name="connsiteY22" fmla="*/ 1666640 h 1985059"/>
                    <a:gd name="connsiteX23" fmla="*/ 2042890 w 2492607"/>
                    <a:gd name="connsiteY23" fmla="*/ 1649818 h 1985059"/>
                    <a:gd name="connsiteX24" fmla="*/ 2040086 w 2492607"/>
                    <a:gd name="connsiteY24" fmla="*/ 1630190 h 1985059"/>
                    <a:gd name="connsiteX25" fmla="*/ 2040086 w 2492607"/>
                    <a:gd name="connsiteY25" fmla="*/ 1611966 h 1985059"/>
                    <a:gd name="connsiteX26" fmla="*/ 2038684 w 2492607"/>
                    <a:gd name="connsiteY26" fmla="*/ 1593741 h 1985059"/>
                    <a:gd name="connsiteX27" fmla="*/ 2035880 w 2492607"/>
                    <a:gd name="connsiteY27" fmla="*/ 1574114 h 1985059"/>
                    <a:gd name="connsiteX28" fmla="*/ 2034478 w 2492607"/>
                    <a:gd name="connsiteY28" fmla="*/ 1555890 h 1985059"/>
                    <a:gd name="connsiteX29" fmla="*/ 2031674 w 2492607"/>
                    <a:gd name="connsiteY29" fmla="*/ 1537665 h 1985059"/>
                    <a:gd name="connsiteX30" fmla="*/ 2028871 w 2492607"/>
                    <a:gd name="connsiteY30" fmla="*/ 1518039 h 1985059"/>
                    <a:gd name="connsiteX31" fmla="*/ 2024665 w 2492607"/>
                    <a:gd name="connsiteY31" fmla="*/ 1499812 h 1985059"/>
                    <a:gd name="connsiteX32" fmla="*/ 2020459 w 2492607"/>
                    <a:gd name="connsiteY32" fmla="*/ 1481588 h 1985059"/>
                    <a:gd name="connsiteX33" fmla="*/ 2016253 w 2492607"/>
                    <a:gd name="connsiteY33" fmla="*/ 1461961 h 1985059"/>
                    <a:gd name="connsiteX34" fmla="*/ 2010646 w 2492607"/>
                    <a:gd name="connsiteY34" fmla="*/ 1442335 h 1985059"/>
                    <a:gd name="connsiteX35" fmla="*/ 2005038 w 2492607"/>
                    <a:gd name="connsiteY35" fmla="*/ 1424108 h 1985059"/>
                    <a:gd name="connsiteX36" fmla="*/ 1999430 w 2492607"/>
                    <a:gd name="connsiteY36" fmla="*/ 1403081 h 1985059"/>
                    <a:gd name="connsiteX37" fmla="*/ 1993823 w 2492607"/>
                    <a:gd name="connsiteY37" fmla="*/ 1384856 h 1985059"/>
                    <a:gd name="connsiteX38" fmla="*/ 1985411 w 2492607"/>
                    <a:gd name="connsiteY38" fmla="*/ 1365228 h 1985059"/>
                    <a:gd name="connsiteX39" fmla="*/ 1978401 w 2492607"/>
                    <a:gd name="connsiteY39" fmla="*/ 1347004 h 1985059"/>
                    <a:gd name="connsiteX40" fmla="*/ 1971392 w 2492607"/>
                    <a:gd name="connsiteY40" fmla="*/ 1327377 h 1985059"/>
                    <a:gd name="connsiteX41" fmla="*/ 1962980 w 2492607"/>
                    <a:gd name="connsiteY41" fmla="*/ 1307750 h 1985059"/>
                    <a:gd name="connsiteX42" fmla="*/ 1955971 w 2492607"/>
                    <a:gd name="connsiteY42" fmla="*/ 1288124 h 1985059"/>
                    <a:gd name="connsiteX43" fmla="*/ 1947559 w 2492607"/>
                    <a:gd name="connsiteY43" fmla="*/ 1269897 h 1985059"/>
                    <a:gd name="connsiteX44" fmla="*/ 1937746 w 2492607"/>
                    <a:gd name="connsiteY44" fmla="*/ 1250272 h 1985059"/>
                    <a:gd name="connsiteX45" fmla="*/ 1927933 w 2492607"/>
                    <a:gd name="connsiteY45" fmla="*/ 1232047 h 1985059"/>
                    <a:gd name="connsiteX46" fmla="*/ 1918119 w 2492607"/>
                    <a:gd name="connsiteY46" fmla="*/ 1212419 h 1985059"/>
                    <a:gd name="connsiteX47" fmla="*/ 1908306 w 2492607"/>
                    <a:gd name="connsiteY47" fmla="*/ 1192792 h 1985059"/>
                    <a:gd name="connsiteX48" fmla="*/ 1898492 w 2492607"/>
                    <a:gd name="connsiteY48" fmla="*/ 1174568 h 1985059"/>
                    <a:gd name="connsiteX49" fmla="*/ 1887277 w 2492607"/>
                    <a:gd name="connsiteY49" fmla="*/ 1156343 h 1985059"/>
                    <a:gd name="connsiteX50" fmla="*/ 1874659 w 2492607"/>
                    <a:gd name="connsiteY50" fmla="*/ 1136716 h 1985059"/>
                    <a:gd name="connsiteX51" fmla="*/ 1863445 w 2492607"/>
                    <a:gd name="connsiteY51" fmla="*/ 1118491 h 1985059"/>
                    <a:gd name="connsiteX52" fmla="*/ 1852229 w 2492607"/>
                    <a:gd name="connsiteY52" fmla="*/ 1100266 h 1985059"/>
                    <a:gd name="connsiteX53" fmla="*/ 1852818 w 2492607"/>
                    <a:gd name="connsiteY53" fmla="*/ 1099737 h 1985059"/>
                    <a:gd name="connsiteX54" fmla="*/ 1807405 w 2492607"/>
                    <a:gd name="connsiteY54" fmla="*/ 1032970 h 1985059"/>
                    <a:gd name="connsiteX55" fmla="*/ 1798928 w 2492607"/>
                    <a:gd name="connsiteY55" fmla="*/ 1021733 h 1985059"/>
                    <a:gd name="connsiteX56" fmla="*/ 1791886 w 2492607"/>
                    <a:gd name="connsiteY56" fmla="*/ 1011959 h 1985059"/>
                    <a:gd name="connsiteX57" fmla="*/ 1782114 w 2492607"/>
                    <a:gd name="connsiteY57" fmla="*/ 1000723 h 1985059"/>
                    <a:gd name="connsiteX58" fmla="*/ 1773779 w 2492607"/>
                    <a:gd name="connsiteY58" fmla="*/ 989484 h 1985059"/>
                    <a:gd name="connsiteX59" fmla="*/ 1763865 w 2492607"/>
                    <a:gd name="connsiteY59" fmla="*/ 976863 h 1985059"/>
                    <a:gd name="connsiteX60" fmla="*/ 1755531 w 2492607"/>
                    <a:gd name="connsiteY60" fmla="*/ 965704 h 1985059"/>
                    <a:gd name="connsiteX61" fmla="*/ 1747052 w 2492607"/>
                    <a:gd name="connsiteY61" fmla="*/ 954467 h 1985059"/>
                    <a:gd name="connsiteX62" fmla="*/ 1737281 w 2492607"/>
                    <a:gd name="connsiteY62" fmla="*/ 944691 h 1985059"/>
                    <a:gd name="connsiteX63" fmla="*/ 1727509 w 2492607"/>
                    <a:gd name="connsiteY63" fmla="*/ 933454 h 1985059"/>
                    <a:gd name="connsiteX64" fmla="*/ 1719031 w 2492607"/>
                    <a:gd name="connsiteY64" fmla="*/ 922217 h 1985059"/>
                    <a:gd name="connsiteX65" fmla="*/ 1707823 w 2492607"/>
                    <a:gd name="connsiteY65" fmla="*/ 910981 h 1985059"/>
                    <a:gd name="connsiteX66" fmla="*/ 1698051 w 2492607"/>
                    <a:gd name="connsiteY66" fmla="*/ 901207 h 1985059"/>
                    <a:gd name="connsiteX67" fmla="*/ 1688136 w 2492607"/>
                    <a:gd name="connsiteY67" fmla="*/ 889969 h 1985059"/>
                    <a:gd name="connsiteX68" fmla="*/ 1678365 w 2492607"/>
                    <a:gd name="connsiteY68" fmla="*/ 880194 h 1985059"/>
                    <a:gd name="connsiteX69" fmla="*/ 1668593 w 2492607"/>
                    <a:gd name="connsiteY69" fmla="*/ 867571 h 1985059"/>
                    <a:gd name="connsiteX70" fmla="*/ 1657385 w 2492607"/>
                    <a:gd name="connsiteY70" fmla="*/ 857721 h 1985059"/>
                    <a:gd name="connsiteX71" fmla="*/ 1647614 w 2492607"/>
                    <a:gd name="connsiteY71" fmla="*/ 847946 h 1985059"/>
                    <a:gd name="connsiteX72" fmla="*/ 1637699 w 2492607"/>
                    <a:gd name="connsiteY72" fmla="*/ 838095 h 1985059"/>
                    <a:gd name="connsiteX73" fmla="*/ 1626490 w 2492607"/>
                    <a:gd name="connsiteY73" fmla="*/ 828320 h 1985059"/>
                    <a:gd name="connsiteX74" fmla="*/ 1616719 w 2492607"/>
                    <a:gd name="connsiteY74" fmla="*/ 817082 h 1985059"/>
                    <a:gd name="connsiteX75" fmla="*/ 1604074 w 2492607"/>
                    <a:gd name="connsiteY75" fmla="*/ 807231 h 1985059"/>
                    <a:gd name="connsiteX76" fmla="*/ 1594302 w 2492607"/>
                    <a:gd name="connsiteY76" fmla="*/ 797456 h 1985059"/>
                    <a:gd name="connsiteX77" fmla="*/ 1583094 w 2492607"/>
                    <a:gd name="connsiteY77" fmla="*/ 787605 h 1985059"/>
                    <a:gd name="connsiteX78" fmla="*/ 1571886 w 2492607"/>
                    <a:gd name="connsiteY78" fmla="*/ 779215 h 1985059"/>
                    <a:gd name="connsiteX79" fmla="*/ 1560677 w 2492607"/>
                    <a:gd name="connsiteY79" fmla="*/ 769442 h 1985059"/>
                    <a:gd name="connsiteX80" fmla="*/ 1548032 w 2492607"/>
                    <a:gd name="connsiteY80" fmla="*/ 758204 h 1985059"/>
                    <a:gd name="connsiteX81" fmla="*/ 1536824 w 2492607"/>
                    <a:gd name="connsiteY81" fmla="*/ 749814 h 1985059"/>
                    <a:gd name="connsiteX82" fmla="*/ 1525616 w 2492607"/>
                    <a:gd name="connsiteY82" fmla="*/ 739962 h 1985059"/>
                    <a:gd name="connsiteX83" fmla="*/ 1514407 w 2492607"/>
                    <a:gd name="connsiteY83" fmla="*/ 731574 h 1985059"/>
                    <a:gd name="connsiteX84" fmla="*/ 1503200 w 2492607"/>
                    <a:gd name="connsiteY84" fmla="*/ 721723 h 1985059"/>
                    <a:gd name="connsiteX85" fmla="*/ 1490554 w 2492607"/>
                    <a:gd name="connsiteY85" fmla="*/ 713333 h 1985059"/>
                    <a:gd name="connsiteX86" fmla="*/ 1454055 w 2492607"/>
                    <a:gd name="connsiteY86" fmla="*/ 686703 h 1985059"/>
                    <a:gd name="connsiteX87" fmla="*/ 1417700 w 2492607"/>
                    <a:gd name="connsiteY87" fmla="*/ 662843 h 1985059"/>
                    <a:gd name="connsiteX88" fmla="*/ 1381200 w 2492607"/>
                    <a:gd name="connsiteY88" fmla="*/ 639062 h 1985059"/>
                    <a:gd name="connsiteX89" fmla="*/ 1346139 w 2492607"/>
                    <a:gd name="connsiteY89" fmla="*/ 619435 h 1985059"/>
                    <a:gd name="connsiteX90" fmla="*/ 1309639 w 2492607"/>
                    <a:gd name="connsiteY90" fmla="*/ 598347 h 1985059"/>
                    <a:gd name="connsiteX91" fmla="*/ 1273284 w 2492607"/>
                    <a:gd name="connsiteY91" fmla="*/ 581569 h 1985059"/>
                    <a:gd name="connsiteX92" fmla="*/ 1238223 w 2492607"/>
                    <a:gd name="connsiteY92" fmla="*/ 566099 h 1985059"/>
                    <a:gd name="connsiteX93" fmla="*/ 1201723 w 2492607"/>
                    <a:gd name="connsiteY93" fmla="*/ 550706 h 1985059"/>
                    <a:gd name="connsiteX94" fmla="*/ 1165225 w 2492607"/>
                    <a:gd name="connsiteY94" fmla="*/ 538084 h 1985059"/>
                    <a:gd name="connsiteX95" fmla="*/ 1131599 w 2492607"/>
                    <a:gd name="connsiteY95" fmla="*/ 525460 h 1985059"/>
                    <a:gd name="connsiteX96" fmla="*/ 1096537 w 2492607"/>
                    <a:gd name="connsiteY96" fmla="*/ 515686 h 1985059"/>
                    <a:gd name="connsiteX97" fmla="*/ 1082711 w 2492607"/>
                    <a:gd name="connsiteY97" fmla="*/ 512913 h 1985059"/>
                    <a:gd name="connsiteX98" fmla="*/ 1082708 w 2492607"/>
                    <a:gd name="connsiteY98" fmla="*/ 512913 h 1985059"/>
                    <a:gd name="connsiteX99" fmla="*/ 1071644 w 2492607"/>
                    <a:gd name="connsiteY99" fmla="*/ 510693 h 1985059"/>
                    <a:gd name="connsiteX100" fmla="*/ 1069393 w 2492607"/>
                    <a:gd name="connsiteY100" fmla="*/ 509898 h 1985059"/>
                    <a:gd name="connsiteX101" fmla="*/ 1041317 w 2492607"/>
                    <a:gd name="connsiteY101" fmla="*/ 504008 h 1985059"/>
                    <a:gd name="connsiteX102" fmla="*/ 1020610 w 2492607"/>
                    <a:gd name="connsiteY102" fmla="*/ 498234 h 1985059"/>
                    <a:gd name="connsiteX103" fmla="*/ 986985 w 2492607"/>
                    <a:gd name="connsiteY103" fmla="*/ 491231 h 1985059"/>
                    <a:gd name="connsiteX104" fmla="*/ 971524 w 2492607"/>
                    <a:gd name="connsiteY104" fmla="*/ 489366 h 1985059"/>
                    <a:gd name="connsiteX105" fmla="*/ 958338 w 2492607"/>
                    <a:gd name="connsiteY105" fmla="*/ 486598 h 1985059"/>
                    <a:gd name="connsiteX106" fmla="*/ 942188 w 2492607"/>
                    <a:gd name="connsiteY106" fmla="*/ 485772 h 1985059"/>
                    <a:gd name="connsiteX107" fmla="*/ 918297 w 2492607"/>
                    <a:gd name="connsiteY107" fmla="*/ 482765 h 1985059"/>
                    <a:gd name="connsiteX108" fmla="*/ 885966 w 2492607"/>
                    <a:gd name="connsiteY108" fmla="*/ 481381 h 1985059"/>
                    <a:gd name="connsiteX109" fmla="*/ 875093 w 2492607"/>
                    <a:gd name="connsiteY109" fmla="*/ 480912 h 1985059"/>
                    <a:gd name="connsiteX110" fmla="*/ 846611 w 2492607"/>
                    <a:gd name="connsiteY110" fmla="*/ 482190 h 1985059"/>
                    <a:gd name="connsiteX111" fmla="*/ 814423 w 2492607"/>
                    <a:gd name="connsiteY111" fmla="*/ 485037 h 1985059"/>
                    <a:gd name="connsiteX112" fmla="*/ 784965 w 2492607"/>
                    <a:gd name="connsiteY112" fmla="*/ 490656 h 1985059"/>
                    <a:gd name="connsiteX113" fmla="*/ 757200 w 2492607"/>
                    <a:gd name="connsiteY113" fmla="*/ 495879 h 1985059"/>
                    <a:gd name="connsiteX114" fmla="*/ 755929 w 2492607"/>
                    <a:gd name="connsiteY114" fmla="*/ 496040 h 1985059"/>
                    <a:gd name="connsiteX115" fmla="*/ 754975 w 2492607"/>
                    <a:gd name="connsiteY115" fmla="*/ 496366 h 1985059"/>
                    <a:gd name="connsiteX116" fmla="*/ 752198 w 2492607"/>
                    <a:gd name="connsiteY116" fmla="*/ 497252 h 1985059"/>
                    <a:gd name="connsiteX117" fmla="*/ 748795 w 2492607"/>
                    <a:gd name="connsiteY117" fmla="*/ 492187 h 1985059"/>
                    <a:gd name="connsiteX118" fmla="*/ 733472 w 2492607"/>
                    <a:gd name="connsiteY118" fmla="*/ 495069 h 1985059"/>
                    <a:gd name="connsiteX119" fmla="*/ 732201 w 2492607"/>
                    <a:gd name="connsiteY119" fmla="*/ 495230 h 1985059"/>
                    <a:gd name="connsiteX120" fmla="*/ 731247 w 2492607"/>
                    <a:gd name="connsiteY120" fmla="*/ 495557 h 1985059"/>
                    <a:gd name="connsiteX121" fmla="*/ 705195 w 2492607"/>
                    <a:gd name="connsiteY121" fmla="*/ 503853 h 1985059"/>
                    <a:gd name="connsiteX122" fmla="*/ 688240 w 2492607"/>
                    <a:gd name="connsiteY122" fmla="*/ 509768 h 1985059"/>
                    <a:gd name="connsiteX123" fmla="*/ 675699 w 2492607"/>
                    <a:gd name="connsiteY123" fmla="*/ 515340 h 1985059"/>
                    <a:gd name="connsiteX124" fmla="*/ 649115 w 2492607"/>
                    <a:gd name="connsiteY124" fmla="*/ 530732 h 1985059"/>
                    <a:gd name="connsiteX125" fmla="*/ 625261 w 2492607"/>
                    <a:gd name="connsiteY125" fmla="*/ 546203 h 1985059"/>
                    <a:gd name="connsiteX126" fmla="*/ 602845 w 2492607"/>
                    <a:gd name="connsiteY126" fmla="*/ 562981 h 1985059"/>
                    <a:gd name="connsiteX127" fmla="*/ 581722 w 2492607"/>
                    <a:gd name="connsiteY127" fmla="*/ 583992 h 1985059"/>
                    <a:gd name="connsiteX128" fmla="*/ 499507 w 2492607"/>
                    <a:gd name="connsiteY128" fmla="*/ 670076 h 1985059"/>
                    <a:gd name="connsiteX129" fmla="*/ 490861 w 2492607"/>
                    <a:gd name="connsiteY129" fmla="*/ 663718 h 1985059"/>
                    <a:gd name="connsiteX130" fmla="*/ 475692 w 2492607"/>
                    <a:gd name="connsiteY130" fmla="*/ 679601 h 1985059"/>
                    <a:gd name="connsiteX131" fmla="*/ 403000 w 2492607"/>
                    <a:gd name="connsiteY131" fmla="*/ 626145 h 1985059"/>
                    <a:gd name="connsiteX132" fmla="*/ 0 w 2492607"/>
                    <a:gd name="connsiteY132" fmla="*/ 329779 h 1985059"/>
                    <a:gd name="connsiteX133" fmla="*/ 54665 w 2492607"/>
                    <a:gd name="connsiteY133" fmla="*/ 246335 h 1985059"/>
                    <a:gd name="connsiteX134" fmla="*/ 120836 w 2492607"/>
                    <a:gd name="connsiteY134" fmla="*/ 175837 h 1985059"/>
                    <a:gd name="connsiteX135" fmla="*/ 234478 w 2492607"/>
                    <a:gd name="connsiteY135" fmla="*/ 93831 h 1985059"/>
                    <a:gd name="connsiteX136" fmla="*/ 363943 w 2492607"/>
                    <a:gd name="connsiteY136" fmla="*/ 40599 h 1985059"/>
                    <a:gd name="connsiteX137" fmla="*/ 365149 w 2492607"/>
                    <a:gd name="connsiteY137" fmla="*/ 40370 h 1985059"/>
                    <a:gd name="connsiteX138" fmla="*/ 387758 w 2492607"/>
                    <a:gd name="connsiteY138" fmla="*/ 31074 h 1985059"/>
                    <a:gd name="connsiteX139" fmla="*/ 531609 w 2492607"/>
                    <a:gd name="connsiteY139" fmla="*/ 3738 h 1985059"/>
                    <a:gd name="connsiteX140" fmla="*/ 686968 w 2492607"/>
                    <a:gd name="connsiteY140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084052 w 2492607"/>
                    <a:gd name="connsiteY6" fmla="*/ 883386 h 1985059"/>
                    <a:gd name="connsiteX7" fmla="*/ 2149377 w 2492607"/>
                    <a:gd name="connsiteY7" fmla="*/ 982592 h 1985059"/>
                    <a:gd name="connsiteX8" fmla="*/ 2154267 w 2492607"/>
                    <a:gd name="connsiteY8" fmla="*/ 980764 h 1985059"/>
                    <a:gd name="connsiteX9" fmla="*/ 2492445 w 2492607"/>
                    <a:gd name="connsiteY9" fmla="*/ 1974724 h 1985059"/>
                    <a:gd name="connsiteX10" fmla="*/ 2491971 w 2492607"/>
                    <a:gd name="connsiteY10" fmla="*/ 1974439 h 1985059"/>
                    <a:gd name="connsiteX11" fmla="*/ 2492357 w 2492607"/>
                    <a:gd name="connsiteY11" fmla="*/ 1985059 h 1985059"/>
                    <a:gd name="connsiteX12" fmla="*/ 2479330 w 2492607"/>
                    <a:gd name="connsiteY12" fmla="*/ 1977229 h 1985059"/>
                    <a:gd name="connsiteX13" fmla="*/ 2468130 w 2492607"/>
                    <a:gd name="connsiteY13" fmla="*/ 1970497 h 1985059"/>
                    <a:gd name="connsiteX14" fmla="*/ 2468630 w 2492607"/>
                    <a:gd name="connsiteY14" fmla="*/ 1984249 h 1985059"/>
                    <a:gd name="connsiteX15" fmla="*/ 2099863 w 2492607"/>
                    <a:gd name="connsiteY15" fmla="*/ 1762610 h 1985059"/>
                    <a:gd name="connsiteX16" fmla="*/ 2024341 w 2492607"/>
                    <a:gd name="connsiteY16" fmla="*/ 1717219 h 1985059"/>
                    <a:gd name="connsiteX17" fmla="*/ 2065487 w 2492607"/>
                    <a:gd name="connsiteY17" fmla="*/ 1683261 h 1985059"/>
                    <a:gd name="connsiteX18" fmla="*/ 2065686 w 2492607"/>
                    <a:gd name="connsiteY18" fmla="*/ 1681963 h 1985059"/>
                    <a:gd name="connsiteX19" fmla="*/ 2040086 w 2492607"/>
                    <a:gd name="connsiteY19" fmla="*/ 1703090 h 1985059"/>
                    <a:gd name="connsiteX20" fmla="*/ 2042890 w 2492607"/>
                    <a:gd name="connsiteY20" fmla="*/ 1684867 h 1985059"/>
                    <a:gd name="connsiteX21" fmla="*/ 2042890 w 2492607"/>
                    <a:gd name="connsiteY21" fmla="*/ 1666640 h 1985059"/>
                    <a:gd name="connsiteX22" fmla="*/ 2042890 w 2492607"/>
                    <a:gd name="connsiteY22" fmla="*/ 1649818 h 1985059"/>
                    <a:gd name="connsiteX23" fmla="*/ 2040086 w 2492607"/>
                    <a:gd name="connsiteY23" fmla="*/ 1630190 h 1985059"/>
                    <a:gd name="connsiteX24" fmla="*/ 2040086 w 2492607"/>
                    <a:gd name="connsiteY24" fmla="*/ 1611966 h 1985059"/>
                    <a:gd name="connsiteX25" fmla="*/ 2038684 w 2492607"/>
                    <a:gd name="connsiteY25" fmla="*/ 1593741 h 1985059"/>
                    <a:gd name="connsiteX26" fmla="*/ 2035880 w 2492607"/>
                    <a:gd name="connsiteY26" fmla="*/ 1574114 h 1985059"/>
                    <a:gd name="connsiteX27" fmla="*/ 2034478 w 2492607"/>
                    <a:gd name="connsiteY27" fmla="*/ 1555890 h 1985059"/>
                    <a:gd name="connsiteX28" fmla="*/ 2031674 w 2492607"/>
                    <a:gd name="connsiteY28" fmla="*/ 1537665 h 1985059"/>
                    <a:gd name="connsiteX29" fmla="*/ 2028871 w 2492607"/>
                    <a:gd name="connsiteY29" fmla="*/ 1518039 h 1985059"/>
                    <a:gd name="connsiteX30" fmla="*/ 2024665 w 2492607"/>
                    <a:gd name="connsiteY30" fmla="*/ 1499812 h 1985059"/>
                    <a:gd name="connsiteX31" fmla="*/ 2020459 w 2492607"/>
                    <a:gd name="connsiteY31" fmla="*/ 1481588 h 1985059"/>
                    <a:gd name="connsiteX32" fmla="*/ 2016253 w 2492607"/>
                    <a:gd name="connsiteY32" fmla="*/ 1461961 h 1985059"/>
                    <a:gd name="connsiteX33" fmla="*/ 2010646 w 2492607"/>
                    <a:gd name="connsiteY33" fmla="*/ 1442335 h 1985059"/>
                    <a:gd name="connsiteX34" fmla="*/ 2005038 w 2492607"/>
                    <a:gd name="connsiteY34" fmla="*/ 1424108 h 1985059"/>
                    <a:gd name="connsiteX35" fmla="*/ 1999430 w 2492607"/>
                    <a:gd name="connsiteY35" fmla="*/ 1403081 h 1985059"/>
                    <a:gd name="connsiteX36" fmla="*/ 1993823 w 2492607"/>
                    <a:gd name="connsiteY36" fmla="*/ 1384856 h 1985059"/>
                    <a:gd name="connsiteX37" fmla="*/ 1985411 w 2492607"/>
                    <a:gd name="connsiteY37" fmla="*/ 1365228 h 1985059"/>
                    <a:gd name="connsiteX38" fmla="*/ 1978401 w 2492607"/>
                    <a:gd name="connsiteY38" fmla="*/ 1347004 h 1985059"/>
                    <a:gd name="connsiteX39" fmla="*/ 1971392 w 2492607"/>
                    <a:gd name="connsiteY39" fmla="*/ 1327377 h 1985059"/>
                    <a:gd name="connsiteX40" fmla="*/ 1962980 w 2492607"/>
                    <a:gd name="connsiteY40" fmla="*/ 1307750 h 1985059"/>
                    <a:gd name="connsiteX41" fmla="*/ 1955971 w 2492607"/>
                    <a:gd name="connsiteY41" fmla="*/ 1288124 h 1985059"/>
                    <a:gd name="connsiteX42" fmla="*/ 1947559 w 2492607"/>
                    <a:gd name="connsiteY42" fmla="*/ 1269897 h 1985059"/>
                    <a:gd name="connsiteX43" fmla="*/ 1937746 w 2492607"/>
                    <a:gd name="connsiteY43" fmla="*/ 1250272 h 1985059"/>
                    <a:gd name="connsiteX44" fmla="*/ 1927933 w 2492607"/>
                    <a:gd name="connsiteY44" fmla="*/ 1232047 h 1985059"/>
                    <a:gd name="connsiteX45" fmla="*/ 1918119 w 2492607"/>
                    <a:gd name="connsiteY45" fmla="*/ 1212419 h 1985059"/>
                    <a:gd name="connsiteX46" fmla="*/ 1908306 w 2492607"/>
                    <a:gd name="connsiteY46" fmla="*/ 1192792 h 1985059"/>
                    <a:gd name="connsiteX47" fmla="*/ 1898492 w 2492607"/>
                    <a:gd name="connsiteY47" fmla="*/ 1174568 h 1985059"/>
                    <a:gd name="connsiteX48" fmla="*/ 1887277 w 2492607"/>
                    <a:gd name="connsiteY48" fmla="*/ 1156343 h 1985059"/>
                    <a:gd name="connsiteX49" fmla="*/ 1874659 w 2492607"/>
                    <a:gd name="connsiteY49" fmla="*/ 1136716 h 1985059"/>
                    <a:gd name="connsiteX50" fmla="*/ 1863445 w 2492607"/>
                    <a:gd name="connsiteY50" fmla="*/ 1118491 h 1985059"/>
                    <a:gd name="connsiteX51" fmla="*/ 1852229 w 2492607"/>
                    <a:gd name="connsiteY51" fmla="*/ 1100266 h 1985059"/>
                    <a:gd name="connsiteX52" fmla="*/ 1852818 w 2492607"/>
                    <a:gd name="connsiteY52" fmla="*/ 1099737 h 1985059"/>
                    <a:gd name="connsiteX53" fmla="*/ 1807405 w 2492607"/>
                    <a:gd name="connsiteY53" fmla="*/ 1032970 h 1985059"/>
                    <a:gd name="connsiteX54" fmla="*/ 1798928 w 2492607"/>
                    <a:gd name="connsiteY54" fmla="*/ 1021733 h 1985059"/>
                    <a:gd name="connsiteX55" fmla="*/ 1791886 w 2492607"/>
                    <a:gd name="connsiteY55" fmla="*/ 1011959 h 1985059"/>
                    <a:gd name="connsiteX56" fmla="*/ 1782114 w 2492607"/>
                    <a:gd name="connsiteY56" fmla="*/ 1000723 h 1985059"/>
                    <a:gd name="connsiteX57" fmla="*/ 1773779 w 2492607"/>
                    <a:gd name="connsiteY57" fmla="*/ 989484 h 1985059"/>
                    <a:gd name="connsiteX58" fmla="*/ 1763865 w 2492607"/>
                    <a:gd name="connsiteY58" fmla="*/ 976863 h 1985059"/>
                    <a:gd name="connsiteX59" fmla="*/ 1755531 w 2492607"/>
                    <a:gd name="connsiteY59" fmla="*/ 965704 h 1985059"/>
                    <a:gd name="connsiteX60" fmla="*/ 1747052 w 2492607"/>
                    <a:gd name="connsiteY60" fmla="*/ 954467 h 1985059"/>
                    <a:gd name="connsiteX61" fmla="*/ 1737281 w 2492607"/>
                    <a:gd name="connsiteY61" fmla="*/ 944691 h 1985059"/>
                    <a:gd name="connsiteX62" fmla="*/ 1727509 w 2492607"/>
                    <a:gd name="connsiteY62" fmla="*/ 933454 h 1985059"/>
                    <a:gd name="connsiteX63" fmla="*/ 1719031 w 2492607"/>
                    <a:gd name="connsiteY63" fmla="*/ 922217 h 1985059"/>
                    <a:gd name="connsiteX64" fmla="*/ 1707823 w 2492607"/>
                    <a:gd name="connsiteY64" fmla="*/ 910981 h 1985059"/>
                    <a:gd name="connsiteX65" fmla="*/ 1698051 w 2492607"/>
                    <a:gd name="connsiteY65" fmla="*/ 901207 h 1985059"/>
                    <a:gd name="connsiteX66" fmla="*/ 1688136 w 2492607"/>
                    <a:gd name="connsiteY66" fmla="*/ 889969 h 1985059"/>
                    <a:gd name="connsiteX67" fmla="*/ 1678365 w 2492607"/>
                    <a:gd name="connsiteY67" fmla="*/ 880194 h 1985059"/>
                    <a:gd name="connsiteX68" fmla="*/ 1668593 w 2492607"/>
                    <a:gd name="connsiteY68" fmla="*/ 867571 h 1985059"/>
                    <a:gd name="connsiteX69" fmla="*/ 1657385 w 2492607"/>
                    <a:gd name="connsiteY69" fmla="*/ 857721 h 1985059"/>
                    <a:gd name="connsiteX70" fmla="*/ 1647614 w 2492607"/>
                    <a:gd name="connsiteY70" fmla="*/ 847946 h 1985059"/>
                    <a:gd name="connsiteX71" fmla="*/ 1637699 w 2492607"/>
                    <a:gd name="connsiteY71" fmla="*/ 838095 h 1985059"/>
                    <a:gd name="connsiteX72" fmla="*/ 1626490 w 2492607"/>
                    <a:gd name="connsiteY72" fmla="*/ 828320 h 1985059"/>
                    <a:gd name="connsiteX73" fmla="*/ 1616719 w 2492607"/>
                    <a:gd name="connsiteY73" fmla="*/ 817082 h 1985059"/>
                    <a:gd name="connsiteX74" fmla="*/ 1604074 w 2492607"/>
                    <a:gd name="connsiteY74" fmla="*/ 807231 h 1985059"/>
                    <a:gd name="connsiteX75" fmla="*/ 1594302 w 2492607"/>
                    <a:gd name="connsiteY75" fmla="*/ 797456 h 1985059"/>
                    <a:gd name="connsiteX76" fmla="*/ 1583094 w 2492607"/>
                    <a:gd name="connsiteY76" fmla="*/ 787605 h 1985059"/>
                    <a:gd name="connsiteX77" fmla="*/ 1571886 w 2492607"/>
                    <a:gd name="connsiteY77" fmla="*/ 779215 h 1985059"/>
                    <a:gd name="connsiteX78" fmla="*/ 1560677 w 2492607"/>
                    <a:gd name="connsiteY78" fmla="*/ 769442 h 1985059"/>
                    <a:gd name="connsiteX79" fmla="*/ 1548032 w 2492607"/>
                    <a:gd name="connsiteY79" fmla="*/ 758204 h 1985059"/>
                    <a:gd name="connsiteX80" fmla="*/ 1536824 w 2492607"/>
                    <a:gd name="connsiteY80" fmla="*/ 749814 h 1985059"/>
                    <a:gd name="connsiteX81" fmla="*/ 1525616 w 2492607"/>
                    <a:gd name="connsiteY81" fmla="*/ 739962 h 1985059"/>
                    <a:gd name="connsiteX82" fmla="*/ 1514407 w 2492607"/>
                    <a:gd name="connsiteY82" fmla="*/ 731574 h 1985059"/>
                    <a:gd name="connsiteX83" fmla="*/ 1503200 w 2492607"/>
                    <a:gd name="connsiteY83" fmla="*/ 721723 h 1985059"/>
                    <a:gd name="connsiteX84" fmla="*/ 1490554 w 2492607"/>
                    <a:gd name="connsiteY84" fmla="*/ 713333 h 1985059"/>
                    <a:gd name="connsiteX85" fmla="*/ 1454055 w 2492607"/>
                    <a:gd name="connsiteY85" fmla="*/ 686703 h 1985059"/>
                    <a:gd name="connsiteX86" fmla="*/ 1417700 w 2492607"/>
                    <a:gd name="connsiteY86" fmla="*/ 662843 h 1985059"/>
                    <a:gd name="connsiteX87" fmla="*/ 1381200 w 2492607"/>
                    <a:gd name="connsiteY87" fmla="*/ 639062 h 1985059"/>
                    <a:gd name="connsiteX88" fmla="*/ 1346139 w 2492607"/>
                    <a:gd name="connsiteY88" fmla="*/ 619435 h 1985059"/>
                    <a:gd name="connsiteX89" fmla="*/ 1309639 w 2492607"/>
                    <a:gd name="connsiteY89" fmla="*/ 598347 h 1985059"/>
                    <a:gd name="connsiteX90" fmla="*/ 1273284 w 2492607"/>
                    <a:gd name="connsiteY90" fmla="*/ 581569 h 1985059"/>
                    <a:gd name="connsiteX91" fmla="*/ 1238223 w 2492607"/>
                    <a:gd name="connsiteY91" fmla="*/ 566099 h 1985059"/>
                    <a:gd name="connsiteX92" fmla="*/ 1201723 w 2492607"/>
                    <a:gd name="connsiteY92" fmla="*/ 550706 h 1985059"/>
                    <a:gd name="connsiteX93" fmla="*/ 1165225 w 2492607"/>
                    <a:gd name="connsiteY93" fmla="*/ 538084 h 1985059"/>
                    <a:gd name="connsiteX94" fmla="*/ 1131599 w 2492607"/>
                    <a:gd name="connsiteY94" fmla="*/ 525460 h 1985059"/>
                    <a:gd name="connsiteX95" fmla="*/ 1096537 w 2492607"/>
                    <a:gd name="connsiteY95" fmla="*/ 515686 h 1985059"/>
                    <a:gd name="connsiteX96" fmla="*/ 1082711 w 2492607"/>
                    <a:gd name="connsiteY96" fmla="*/ 512913 h 1985059"/>
                    <a:gd name="connsiteX97" fmla="*/ 1082708 w 2492607"/>
                    <a:gd name="connsiteY97" fmla="*/ 512913 h 1985059"/>
                    <a:gd name="connsiteX98" fmla="*/ 1071644 w 2492607"/>
                    <a:gd name="connsiteY98" fmla="*/ 510693 h 1985059"/>
                    <a:gd name="connsiteX99" fmla="*/ 1069393 w 2492607"/>
                    <a:gd name="connsiteY99" fmla="*/ 509898 h 1985059"/>
                    <a:gd name="connsiteX100" fmla="*/ 1041317 w 2492607"/>
                    <a:gd name="connsiteY100" fmla="*/ 504008 h 1985059"/>
                    <a:gd name="connsiteX101" fmla="*/ 1020610 w 2492607"/>
                    <a:gd name="connsiteY101" fmla="*/ 498234 h 1985059"/>
                    <a:gd name="connsiteX102" fmla="*/ 986985 w 2492607"/>
                    <a:gd name="connsiteY102" fmla="*/ 491231 h 1985059"/>
                    <a:gd name="connsiteX103" fmla="*/ 971524 w 2492607"/>
                    <a:gd name="connsiteY103" fmla="*/ 489366 h 1985059"/>
                    <a:gd name="connsiteX104" fmla="*/ 958338 w 2492607"/>
                    <a:gd name="connsiteY104" fmla="*/ 486598 h 1985059"/>
                    <a:gd name="connsiteX105" fmla="*/ 942188 w 2492607"/>
                    <a:gd name="connsiteY105" fmla="*/ 485772 h 1985059"/>
                    <a:gd name="connsiteX106" fmla="*/ 918297 w 2492607"/>
                    <a:gd name="connsiteY106" fmla="*/ 482765 h 1985059"/>
                    <a:gd name="connsiteX107" fmla="*/ 885966 w 2492607"/>
                    <a:gd name="connsiteY107" fmla="*/ 481381 h 1985059"/>
                    <a:gd name="connsiteX108" fmla="*/ 875093 w 2492607"/>
                    <a:gd name="connsiteY108" fmla="*/ 480912 h 1985059"/>
                    <a:gd name="connsiteX109" fmla="*/ 846611 w 2492607"/>
                    <a:gd name="connsiteY109" fmla="*/ 482190 h 1985059"/>
                    <a:gd name="connsiteX110" fmla="*/ 814423 w 2492607"/>
                    <a:gd name="connsiteY110" fmla="*/ 485037 h 1985059"/>
                    <a:gd name="connsiteX111" fmla="*/ 784965 w 2492607"/>
                    <a:gd name="connsiteY111" fmla="*/ 490656 h 1985059"/>
                    <a:gd name="connsiteX112" fmla="*/ 757200 w 2492607"/>
                    <a:gd name="connsiteY112" fmla="*/ 495879 h 1985059"/>
                    <a:gd name="connsiteX113" fmla="*/ 755929 w 2492607"/>
                    <a:gd name="connsiteY113" fmla="*/ 496040 h 1985059"/>
                    <a:gd name="connsiteX114" fmla="*/ 754975 w 2492607"/>
                    <a:gd name="connsiteY114" fmla="*/ 496366 h 1985059"/>
                    <a:gd name="connsiteX115" fmla="*/ 752198 w 2492607"/>
                    <a:gd name="connsiteY115" fmla="*/ 497252 h 1985059"/>
                    <a:gd name="connsiteX116" fmla="*/ 748795 w 2492607"/>
                    <a:gd name="connsiteY116" fmla="*/ 492187 h 1985059"/>
                    <a:gd name="connsiteX117" fmla="*/ 733472 w 2492607"/>
                    <a:gd name="connsiteY117" fmla="*/ 495069 h 1985059"/>
                    <a:gd name="connsiteX118" fmla="*/ 732201 w 2492607"/>
                    <a:gd name="connsiteY118" fmla="*/ 495230 h 1985059"/>
                    <a:gd name="connsiteX119" fmla="*/ 731247 w 2492607"/>
                    <a:gd name="connsiteY119" fmla="*/ 495557 h 1985059"/>
                    <a:gd name="connsiteX120" fmla="*/ 705195 w 2492607"/>
                    <a:gd name="connsiteY120" fmla="*/ 503853 h 1985059"/>
                    <a:gd name="connsiteX121" fmla="*/ 688240 w 2492607"/>
                    <a:gd name="connsiteY121" fmla="*/ 509768 h 1985059"/>
                    <a:gd name="connsiteX122" fmla="*/ 675699 w 2492607"/>
                    <a:gd name="connsiteY122" fmla="*/ 515340 h 1985059"/>
                    <a:gd name="connsiteX123" fmla="*/ 649115 w 2492607"/>
                    <a:gd name="connsiteY123" fmla="*/ 530732 h 1985059"/>
                    <a:gd name="connsiteX124" fmla="*/ 625261 w 2492607"/>
                    <a:gd name="connsiteY124" fmla="*/ 546203 h 1985059"/>
                    <a:gd name="connsiteX125" fmla="*/ 602845 w 2492607"/>
                    <a:gd name="connsiteY125" fmla="*/ 562981 h 1985059"/>
                    <a:gd name="connsiteX126" fmla="*/ 581722 w 2492607"/>
                    <a:gd name="connsiteY126" fmla="*/ 583992 h 1985059"/>
                    <a:gd name="connsiteX127" fmla="*/ 499507 w 2492607"/>
                    <a:gd name="connsiteY127" fmla="*/ 670076 h 1985059"/>
                    <a:gd name="connsiteX128" fmla="*/ 490861 w 2492607"/>
                    <a:gd name="connsiteY128" fmla="*/ 663718 h 1985059"/>
                    <a:gd name="connsiteX129" fmla="*/ 475692 w 2492607"/>
                    <a:gd name="connsiteY129" fmla="*/ 679601 h 1985059"/>
                    <a:gd name="connsiteX130" fmla="*/ 403000 w 2492607"/>
                    <a:gd name="connsiteY130" fmla="*/ 626145 h 1985059"/>
                    <a:gd name="connsiteX131" fmla="*/ 0 w 2492607"/>
                    <a:gd name="connsiteY131" fmla="*/ 329779 h 1985059"/>
                    <a:gd name="connsiteX132" fmla="*/ 54665 w 2492607"/>
                    <a:gd name="connsiteY132" fmla="*/ 246335 h 1985059"/>
                    <a:gd name="connsiteX133" fmla="*/ 120836 w 2492607"/>
                    <a:gd name="connsiteY133" fmla="*/ 175837 h 1985059"/>
                    <a:gd name="connsiteX134" fmla="*/ 234478 w 2492607"/>
                    <a:gd name="connsiteY134" fmla="*/ 93831 h 1985059"/>
                    <a:gd name="connsiteX135" fmla="*/ 363943 w 2492607"/>
                    <a:gd name="connsiteY135" fmla="*/ 40599 h 1985059"/>
                    <a:gd name="connsiteX136" fmla="*/ 365149 w 2492607"/>
                    <a:gd name="connsiteY136" fmla="*/ 40370 h 1985059"/>
                    <a:gd name="connsiteX137" fmla="*/ 387758 w 2492607"/>
                    <a:gd name="connsiteY137" fmla="*/ 31074 h 1985059"/>
                    <a:gd name="connsiteX138" fmla="*/ 531609 w 2492607"/>
                    <a:gd name="connsiteY138" fmla="*/ 3738 h 1985059"/>
                    <a:gd name="connsiteX139" fmla="*/ 686968 w 2492607"/>
                    <a:gd name="connsiteY139" fmla="*/ 861 h 1985059"/>
                    <a:gd name="connsiteX0" fmla="*/ 686968 w 2492607"/>
                    <a:gd name="connsiteY0" fmla="*/ 861 h 1985059"/>
                    <a:gd name="connsiteX1" fmla="*/ 848080 w 2492607"/>
                    <a:gd name="connsiteY1" fmla="*/ 22441 h 1985059"/>
                    <a:gd name="connsiteX2" fmla="*/ 1130028 w 2492607"/>
                    <a:gd name="connsiteY2" fmla="*/ 110202 h 1985059"/>
                    <a:gd name="connsiteX3" fmla="*/ 1302648 w 2492607"/>
                    <a:gd name="connsiteY3" fmla="*/ 193647 h 1985059"/>
                    <a:gd name="connsiteX4" fmla="*/ 1590349 w 2492607"/>
                    <a:gd name="connsiteY4" fmla="*/ 380680 h 1985059"/>
                    <a:gd name="connsiteX5" fmla="*/ 2000997 w 2492607"/>
                    <a:gd name="connsiteY5" fmla="*/ 776617 h 1985059"/>
                    <a:gd name="connsiteX6" fmla="*/ 2149377 w 2492607"/>
                    <a:gd name="connsiteY6" fmla="*/ 982592 h 1985059"/>
                    <a:gd name="connsiteX7" fmla="*/ 2154267 w 2492607"/>
                    <a:gd name="connsiteY7" fmla="*/ 980764 h 1985059"/>
                    <a:gd name="connsiteX8" fmla="*/ 2492445 w 2492607"/>
                    <a:gd name="connsiteY8" fmla="*/ 1974724 h 1985059"/>
                    <a:gd name="connsiteX9" fmla="*/ 2491971 w 2492607"/>
                    <a:gd name="connsiteY9" fmla="*/ 1974439 h 1985059"/>
                    <a:gd name="connsiteX10" fmla="*/ 2492357 w 2492607"/>
                    <a:gd name="connsiteY10" fmla="*/ 1985059 h 1985059"/>
                    <a:gd name="connsiteX11" fmla="*/ 2479330 w 2492607"/>
                    <a:gd name="connsiteY11" fmla="*/ 1977229 h 1985059"/>
                    <a:gd name="connsiteX12" fmla="*/ 2468130 w 2492607"/>
                    <a:gd name="connsiteY12" fmla="*/ 1970497 h 1985059"/>
                    <a:gd name="connsiteX13" fmla="*/ 2468630 w 2492607"/>
                    <a:gd name="connsiteY13" fmla="*/ 1984249 h 1985059"/>
                    <a:gd name="connsiteX14" fmla="*/ 2099863 w 2492607"/>
                    <a:gd name="connsiteY14" fmla="*/ 1762610 h 1985059"/>
                    <a:gd name="connsiteX15" fmla="*/ 2024341 w 2492607"/>
                    <a:gd name="connsiteY15" fmla="*/ 1717219 h 1985059"/>
                    <a:gd name="connsiteX16" fmla="*/ 2065487 w 2492607"/>
                    <a:gd name="connsiteY16" fmla="*/ 1683261 h 1985059"/>
                    <a:gd name="connsiteX17" fmla="*/ 2065686 w 2492607"/>
                    <a:gd name="connsiteY17" fmla="*/ 1681963 h 1985059"/>
                    <a:gd name="connsiteX18" fmla="*/ 2040086 w 2492607"/>
                    <a:gd name="connsiteY18" fmla="*/ 1703090 h 1985059"/>
                    <a:gd name="connsiteX19" fmla="*/ 2042890 w 2492607"/>
                    <a:gd name="connsiteY19" fmla="*/ 1684867 h 1985059"/>
                    <a:gd name="connsiteX20" fmla="*/ 2042890 w 2492607"/>
                    <a:gd name="connsiteY20" fmla="*/ 1666640 h 1985059"/>
                    <a:gd name="connsiteX21" fmla="*/ 2042890 w 2492607"/>
                    <a:gd name="connsiteY21" fmla="*/ 1649818 h 1985059"/>
                    <a:gd name="connsiteX22" fmla="*/ 2040086 w 2492607"/>
                    <a:gd name="connsiteY22" fmla="*/ 1630190 h 1985059"/>
                    <a:gd name="connsiteX23" fmla="*/ 2040086 w 2492607"/>
                    <a:gd name="connsiteY23" fmla="*/ 1611966 h 1985059"/>
                    <a:gd name="connsiteX24" fmla="*/ 2038684 w 2492607"/>
                    <a:gd name="connsiteY24" fmla="*/ 1593741 h 1985059"/>
                    <a:gd name="connsiteX25" fmla="*/ 2035880 w 2492607"/>
                    <a:gd name="connsiteY25" fmla="*/ 1574114 h 1985059"/>
                    <a:gd name="connsiteX26" fmla="*/ 2034478 w 2492607"/>
                    <a:gd name="connsiteY26" fmla="*/ 1555890 h 1985059"/>
                    <a:gd name="connsiteX27" fmla="*/ 2031674 w 2492607"/>
                    <a:gd name="connsiteY27" fmla="*/ 1537665 h 1985059"/>
                    <a:gd name="connsiteX28" fmla="*/ 2028871 w 2492607"/>
                    <a:gd name="connsiteY28" fmla="*/ 1518039 h 1985059"/>
                    <a:gd name="connsiteX29" fmla="*/ 2024665 w 2492607"/>
                    <a:gd name="connsiteY29" fmla="*/ 1499812 h 1985059"/>
                    <a:gd name="connsiteX30" fmla="*/ 2020459 w 2492607"/>
                    <a:gd name="connsiteY30" fmla="*/ 1481588 h 1985059"/>
                    <a:gd name="connsiteX31" fmla="*/ 2016253 w 2492607"/>
                    <a:gd name="connsiteY31" fmla="*/ 1461961 h 1985059"/>
                    <a:gd name="connsiteX32" fmla="*/ 2010646 w 2492607"/>
                    <a:gd name="connsiteY32" fmla="*/ 1442335 h 1985059"/>
                    <a:gd name="connsiteX33" fmla="*/ 2005038 w 2492607"/>
                    <a:gd name="connsiteY33" fmla="*/ 1424108 h 1985059"/>
                    <a:gd name="connsiteX34" fmla="*/ 1999430 w 2492607"/>
                    <a:gd name="connsiteY34" fmla="*/ 1403081 h 1985059"/>
                    <a:gd name="connsiteX35" fmla="*/ 1993823 w 2492607"/>
                    <a:gd name="connsiteY35" fmla="*/ 1384856 h 1985059"/>
                    <a:gd name="connsiteX36" fmla="*/ 1985411 w 2492607"/>
                    <a:gd name="connsiteY36" fmla="*/ 1365228 h 1985059"/>
                    <a:gd name="connsiteX37" fmla="*/ 1978401 w 2492607"/>
                    <a:gd name="connsiteY37" fmla="*/ 1347004 h 1985059"/>
                    <a:gd name="connsiteX38" fmla="*/ 1971392 w 2492607"/>
                    <a:gd name="connsiteY38" fmla="*/ 1327377 h 1985059"/>
                    <a:gd name="connsiteX39" fmla="*/ 1962980 w 2492607"/>
                    <a:gd name="connsiteY39" fmla="*/ 1307750 h 1985059"/>
                    <a:gd name="connsiteX40" fmla="*/ 1955971 w 2492607"/>
                    <a:gd name="connsiteY40" fmla="*/ 1288124 h 1985059"/>
                    <a:gd name="connsiteX41" fmla="*/ 1947559 w 2492607"/>
                    <a:gd name="connsiteY41" fmla="*/ 1269897 h 1985059"/>
                    <a:gd name="connsiteX42" fmla="*/ 1937746 w 2492607"/>
                    <a:gd name="connsiteY42" fmla="*/ 1250272 h 1985059"/>
                    <a:gd name="connsiteX43" fmla="*/ 1927933 w 2492607"/>
                    <a:gd name="connsiteY43" fmla="*/ 1232047 h 1985059"/>
                    <a:gd name="connsiteX44" fmla="*/ 1918119 w 2492607"/>
                    <a:gd name="connsiteY44" fmla="*/ 1212419 h 1985059"/>
                    <a:gd name="connsiteX45" fmla="*/ 1908306 w 2492607"/>
                    <a:gd name="connsiteY45" fmla="*/ 1192792 h 1985059"/>
                    <a:gd name="connsiteX46" fmla="*/ 1898492 w 2492607"/>
                    <a:gd name="connsiteY46" fmla="*/ 1174568 h 1985059"/>
                    <a:gd name="connsiteX47" fmla="*/ 1887277 w 2492607"/>
                    <a:gd name="connsiteY47" fmla="*/ 1156343 h 1985059"/>
                    <a:gd name="connsiteX48" fmla="*/ 1874659 w 2492607"/>
                    <a:gd name="connsiteY48" fmla="*/ 1136716 h 1985059"/>
                    <a:gd name="connsiteX49" fmla="*/ 1863445 w 2492607"/>
                    <a:gd name="connsiteY49" fmla="*/ 1118491 h 1985059"/>
                    <a:gd name="connsiteX50" fmla="*/ 1852229 w 2492607"/>
                    <a:gd name="connsiteY50" fmla="*/ 1100266 h 1985059"/>
                    <a:gd name="connsiteX51" fmla="*/ 1852818 w 2492607"/>
                    <a:gd name="connsiteY51" fmla="*/ 1099737 h 1985059"/>
                    <a:gd name="connsiteX52" fmla="*/ 1807405 w 2492607"/>
                    <a:gd name="connsiteY52" fmla="*/ 1032970 h 1985059"/>
                    <a:gd name="connsiteX53" fmla="*/ 1798928 w 2492607"/>
                    <a:gd name="connsiteY53" fmla="*/ 1021733 h 1985059"/>
                    <a:gd name="connsiteX54" fmla="*/ 1791886 w 2492607"/>
                    <a:gd name="connsiteY54" fmla="*/ 1011959 h 1985059"/>
                    <a:gd name="connsiteX55" fmla="*/ 1782114 w 2492607"/>
                    <a:gd name="connsiteY55" fmla="*/ 1000723 h 1985059"/>
                    <a:gd name="connsiteX56" fmla="*/ 1773779 w 2492607"/>
                    <a:gd name="connsiteY56" fmla="*/ 989484 h 1985059"/>
                    <a:gd name="connsiteX57" fmla="*/ 1763865 w 2492607"/>
                    <a:gd name="connsiteY57" fmla="*/ 976863 h 1985059"/>
                    <a:gd name="connsiteX58" fmla="*/ 1755531 w 2492607"/>
                    <a:gd name="connsiteY58" fmla="*/ 965704 h 1985059"/>
                    <a:gd name="connsiteX59" fmla="*/ 1747052 w 2492607"/>
                    <a:gd name="connsiteY59" fmla="*/ 954467 h 1985059"/>
                    <a:gd name="connsiteX60" fmla="*/ 1737281 w 2492607"/>
                    <a:gd name="connsiteY60" fmla="*/ 944691 h 1985059"/>
                    <a:gd name="connsiteX61" fmla="*/ 1727509 w 2492607"/>
                    <a:gd name="connsiteY61" fmla="*/ 933454 h 1985059"/>
                    <a:gd name="connsiteX62" fmla="*/ 1719031 w 2492607"/>
                    <a:gd name="connsiteY62" fmla="*/ 922217 h 1985059"/>
                    <a:gd name="connsiteX63" fmla="*/ 1707823 w 2492607"/>
                    <a:gd name="connsiteY63" fmla="*/ 910981 h 1985059"/>
                    <a:gd name="connsiteX64" fmla="*/ 1698051 w 2492607"/>
                    <a:gd name="connsiteY64" fmla="*/ 901207 h 1985059"/>
                    <a:gd name="connsiteX65" fmla="*/ 1688136 w 2492607"/>
                    <a:gd name="connsiteY65" fmla="*/ 889969 h 1985059"/>
                    <a:gd name="connsiteX66" fmla="*/ 1678365 w 2492607"/>
                    <a:gd name="connsiteY66" fmla="*/ 880194 h 1985059"/>
                    <a:gd name="connsiteX67" fmla="*/ 1668593 w 2492607"/>
                    <a:gd name="connsiteY67" fmla="*/ 867571 h 1985059"/>
                    <a:gd name="connsiteX68" fmla="*/ 1657385 w 2492607"/>
                    <a:gd name="connsiteY68" fmla="*/ 857721 h 1985059"/>
                    <a:gd name="connsiteX69" fmla="*/ 1647614 w 2492607"/>
                    <a:gd name="connsiteY69" fmla="*/ 847946 h 1985059"/>
                    <a:gd name="connsiteX70" fmla="*/ 1637699 w 2492607"/>
                    <a:gd name="connsiteY70" fmla="*/ 838095 h 1985059"/>
                    <a:gd name="connsiteX71" fmla="*/ 1626490 w 2492607"/>
                    <a:gd name="connsiteY71" fmla="*/ 828320 h 1985059"/>
                    <a:gd name="connsiteX72" fmla="*/ 1616719 w 2492607"/>
                    <a:gd name="connsiteY72" fmla="*/ 817082 h 1985059"/>
                    <a:gd name="connsiteX73" fmla="*/ 1604074 w 2492607"/>
                    <a:gd name="connsiteY73" fmla="*/ 807231 h 1985059"/>
                    <a:gd name="connsiteX74" fmla="*/ 1594302 w 2492607"/>
                    <a:gd name="connsiteY74" fmla="*/ 797456 h 1985059"/>
                    <a:gd name="connsiteX75" fmla="*/ 1583094 w 2492607"/>
                    <a:gd name="connsiteY75" fmla="*/ 787605 h 1985059"/>
                    <a:gd name="connsiteX76" fmla="*/ 1571886 w 2492607"/>
                    <a:gd name="connsiteY76" fmla="*/ 779215 h 1985059"/>
                    <a:gd name="connsiteX77" fmla="*/ 1560677 w 2492607"/>
                    <a:gd name="connsiteY77" fmla="*/ 769442 h 1985059"/>
                    <a:gd name="connsiteX78" fmla="*/ 1548032 w 2492607"/>
                    <a:gd name="connsiteY78" fmla="*/ 758204 h 1985059"/>
                    <a:gd name="connsiteX79" fmla="*/ 1536824 w 2492607"/>
                    <a:gd name="connsiteY79" fmla="*/ 749814 h 1985059"/>
                    <a:gd name="connsiteX80" fmla="*/ 1525616 w 2492607"/>
                    <a:gd name="connsiteY80" fmla="*/ 739962 h 1985059"/>
                    <a:gd name="connsiteX81" fmla="*/ 1514407 w 2492607"/>
                    <a:gd name="connsiteY81" fmla="*/ 731574 h 1985059"/>
                    <a:gd name="connsiteX82" fmla="*/ 1503200 w 2492607"/>
                    <a:gd name="connsiteY82" fmla="*/ 721723 h 1985059"/>
                    <a:gd name="connsiteX83" fmla="*/ 1490554 w 2492607"/>
                    <a:gd name="connsiteY83" fmla="*/ 713333 h 1985059"/>
                    <a:gd name="connsiteX84" fmla="*/ 1454055 w 2492607"/>
                    <a:gd name="connsiteY84" fmla="*/ 686703 h 1985059"/>
                    <a:gd name="connsiteX85" fmla="*/ 1417700 w 2492607"/>
                    <a:gd name="connsiteY85" fmla="*/ 662843 h 1985059"/>
                    <a:gd name="connsiteX86" fmla="*/ 1381200 w 2492607"/>
                    <a:gd name="connsiteY86" fmla="*/ 639062 h 1985059"/>
                    <a:gd name="connsiteX87" fmla="*/ 1346139 w 2492607"/>
                    <a:gd name="connsiteY87" fmla="*/ 619435 h 1985059"/>
                    <a:gd name="connsiteX88" fmla="*/ 1309639 w 2492607"/>
                    <a:gd name="connsiteY88" fmla="*/ 598347 h 1985059"/>
                    <a:gd name="connsiteX89" fmla="*/ 1273284 w 2492607"/>
                    <a:gd name="connsiteY89" fmla="*/ 581569 h 1985059"/>
                    <a:gd name="connsiteX90" fmla="*/ 1238223 w 2492607"/>
                    <a:gd name="connsiteY90" fmla="*/ 566099 h 1985059"/>
                    <a:gd name="connsiteX91" fmla="*/ 1201723 w 2492607"/>
                    <a:gd name="connsiteY91" fmla="*/ 550706 h 1985059"/>
                    <a:gd name="connsiteX92" fmla="*/ 1165225 w 2492607"/>
                    <a:gd name="connsiteY92" fmla="*/ 538084 h 1985059"/>
                    <a:gd name="connsiteX93" fmla="*/ 1131599 w 2492607"/>
                    <a:gd name="connsiteY93" fmla="*/ 525460 h 1985059"/>
                    <a:gd name="connsiteX94" fmla="*/ 1096537 w 2492607"/>
                    <a:gd name="connsiteY94" fmla="*/ 515686 h 1985059"/>
                    <a:gd name="connsiteX95" fmla="*/ 1082711 w 2492607"/>
                    <a:gd name="connsiteY95" fmla="*/ 512913 h 1985059"/>
                    <a:gd name="connsiteX96" fmla="*/ 1082708 w 2492607"/>
                    <a:gd name="connsiteY96" fmla="*/ 512913 h 1985059"/>
                    <a:gd name="connsiteX97" fmla="*/ 1071644 w 2492607"/>
                    <a:gd name="connsiteY97" fmla="*/ 510693 h 1985059"/>
                    <a:gd name="connsiteX98" fmla="*/ 1069393 w 2492607"/>
                    <a:gd name="connsiteY98" fmla="*/ 509898 h 1985059"/>
                    <a:gd name="connsiteX99" fmla="*/ 1041317 w 2492607"/>
                    <a:gd name="connsiteY99" fmla="*/ 504008 h 1985059"/>
                    <a:gd name="connsiteX100" fmla="*/ 1020610 w 2492607"/>
                    <a:gd name="connsiteY100" fmla="*/ 498234 h 1985059"/>
                    <a:gd name="connsiteX101" fmla="*/ 986985 w 2492607"/>
                    <a:gd name="connsiteY101" fmla="*/ 491231 h 1985059"/>
                    <a:gd name="connsiteX102" fmla="*/ 971524 w 2492607"/>
                    <a:gd name="connsiteY102" fmla="*/ 489366 h 1985059"/>
                    <a:gd name="connsiteX103" fmla="*/ 958338 w 2492607"/>
                    <a:gd name="connsiteY103" fmla="*/ 486598 h 1985059"/>
                    <a:gd name="connsiteX104" fmla="*/ 942188 w 2492607"/>
                    <a:gd name="connsiteY104" fmla="*/ 485772 h 1985059"/>
                    <a:gd name="connsiteX105" fmla="*/ 918297 w 2492607"/>
                    <a:gd name="connsiteY105" fmla="*/ 482765 h 1985059"/>
                    <a:gd name="connsiteX106" fmla="*/ 885966 w 2492607"/>
                    <a:gd name="connsiteY106" fmla="*/ 481381 h 1985059"/>
                    <a:gd name="connsiteX107" fmla="*/ 875093 w 2492607"/>
                    <a:gd name="connsiteY107" fmla="*/ 480912 h 1985059"/>
                    <a:gd name="connsiteX108" fmla="*/ 846611 w 2492607"/>
                    <a:gd name="connsiteY108" fmla="*/ 482190 h 1985059"/>
                    <a:gd name="connsiteX109" fmla="*/ 814423 w 2492607"/>
                    <a:gd name="connsiteY109" fmla="*/ 485037 h 1985059"/>
                    <a:gd name="connsiteX110" fmla="*/ 784965 w 2492607"/>
                    <a:gd name="connsiteY110" fmla="*/ 490656 h 1985059"/>
                    <a:gd name="connsiteX111" fmla="*/ 757200 w 2492607"/>
                    <a:gd name="connsiteY111" fmla="*/ 495879 h 1985059"/>
                    <a:gd name="connsiteX112" fmla="*/ 755929 w 2492607"/>
                    <a:gd name="connsiteY112" fmla="*/ 496040 h 1985059"/>
                    <a:gd name="connsiteX113" fmla="*/ 754975 w 2492607"/>
                    <a:gd name="connsiteY113" fmla="*/ 496366 h 1985059"/>
                    <a:gd name="connsiteX114" fmla="*/ 752198 w 2492607"/>
                    <a:gd name="connsiteY114" fmla="*/ 497252 h 1985059"/>
                    <a:gd name="connsiteX115" fmla="*/ 748795 w 2492607"/>
                    <a:gd name="connsiteY115" fmla="*/ 492187 h 1985059"/>
                    <a:gd name="connsiteX116" fmla="*/ 733472 w 2492607"/>
                    <a:gd name="connsiteY116" fmla="*/ 495069 h 1985059"/>
                    <a:gd name="connsiteX117" fmla="*/ 732201 w 2492607"/>
                    <a:gd name="connsiteY117" fmla="*/ 495230 h 1985059"/>
                    <a:gd name="connsiteX118" fmla="*/ 731247 w 2492607"/>
                    <a:gd name="connsiteY118" fmla="*/ 495557 h 1985059"/>
                    <a:gd name="connsiteX119" fmla="*/ 705195 w 2492607"/>
                    <a:gd name="connsiteY119" fmla="*/ 503853 h 1985059"/>
                    <a:gd name="connsiteX120" fmla="*/ 688240 w 2492607"/>
                    <a:gd name="connsiteY120" fmla="*/ 509768 h 1985059"/>
                    <a:gd name="connsiteX121" fmla="*/ 675699 w 2492607"/>
                    <a:gd name="connsiteY121" fmla="*/ 515340 h 1985059"/>
                    <a:gd name="connsiteX122" fmla="*/ 649115 w 2492607"/>
                    <a:gd name="connsiteY122" fmla="*/ 530732 h 1985059"/>
                    <a:gd name="connsiteX123" fmla="*/ 625261 w 2492607"/>
                    <a:gd name="connsiteY123" fmla="*/ 546203 h 1985059"/>
                    <a:gd name="connsiteX124" fmla="*/ 602845 w 2492607"/>
                    <a:gd name="connsiteY124" fmla="*/ 562981 h 1985059"/>
                    <a:gd name="connsiteX125" fmla="*/ 581722 w 2492607"/>
                    <a:gd name="connsiteY125" fmla="*/ 583992 h 1985059"/>
                    <a:gd name="connsiteX126" fmla="*/ 499507 w 2492607"/>
                    <a:gd name="connsiteY126" fmla="*/ 670076 h 1985059"/>
                    <a:gd name="connsiteX127" fmla="*/ 490861 w 2492607"/>
                    <a:gd name="connsiteY127" fmla="*/ 663718 h 1985059"/>
                    <a:gd name="connsiteX128" fmla="*/ 475692 w 2492607"/>
                    <a:gd name="connsiteY128" fmla="*/ 679601 h 1985059"/>
                    <a:gd name="connsiteX129" fmla="*/ 403000 w 2492607"/>
                    <a:gd name="connsiteY129" fmla="*/ 626145 h 1985059"/>
                    <a:gd name="connsiteX130" fmla="*/ 0 w 2492607"/>
                    <a:gd name="connsiteY130" fmla="*/ 329779 h 1985059"/>
                    <a:gd name="connsiteX131" fmla="*/ 54665 w 2492607"/>
                    <a:gd name="connsiteY131" fmla="*/ 246335 h 1985059"/>
                    <a:gd name="connsiteX132" fmla="*/ 120836 w 2492607"/>
                    <a:gd name="connsiteY132" fmla="*/ 175837 h 1985059"/>
                    <a:gd name="connsiteX133" fmla="*/ 234478 w 2492607"/>
                    <a:gd name="connsiteY133" fmla="*/ 93831 h 1985059"/>
                    <a:gd name="connsiteX134" fmla="*/ 363943 w 2492607"/>
                    <a:gd name="connsiteY134" fmla="*/ 40599 h 1985059"/>
                    <a:gd name="connsiteX135" fmla="*/ 365149 w 2492607"/>
                    <a:gd name="connsiteY135" fmla="*/ 40370 h 1985059"/>
                    <a:gd name="connsiteX136" fmla="*/ 387758 w 2492607"/>
                    <a:gd name="connsiteY136" fmla="*/ 31074 h 1985059"/>
                    <a:gd name="connsiteX137" fmla="*/ 531609 w 2492607"/>
                    <a:gd name="connsiteY137" fmla="*/ 3738 h 1985059"/>
                    <a:gd name="connsiteX138" fmla="*/ 686968 w 2492607"/>
                    <a:gd name="connsiteY138" fmla="*/ 861 h 1985059"/>
                    <a:gd name="connsiteX0" fmla="*/ 686968 w 2492593"/>
                    <a:gd name="connsiteY0" fmla="*/ 861 h 1985059"/>
                    <a:gd name="connsiteX1" fmla="*/ 848080 w 2492593"/>
                    <a:gd name="connsiteY1" fmla="*/ 22441 h 1985059"/>
                    <a:gd name="connsiteX2" fmla="*/ 1130028 w 2492593"/>
                    <a:gd name="connsiteY2" fmla="*/ 110202 h 1985059"/>
                    <a:gd name="connsiteX3" fmla="*/ 1302648 w 2492593"/>
                    <a:gd name="connsiteY3" fmla="*/ 193647 h 1985059"/>
                    <a:gd name="connsiteX4" fmla="*/ 1590349 w 2492593"/>
                    <a:gd name="connsiteY4" fmla="*/ 380680 h 1985059"/>
                    <a:gd name="connsiteX5" fmla="*/ 2000997 w 2492593"/>
                    <a:gd name="connsiteY5" fmla="*/ 776617 h 1985059"/>
                    <a:gd name="connsiteX6" fmla="*/ 2149377 w 2492593"/>
                    <a:gd name="connsiteY6" fmla="*/ 982592 h 1985059"/>
                    <a:gd name="connsiteX7" fmla="*/ 2154267 w 2492593"/>
                    <a:gd name="connsiteY7" fmla="*/ 980764 h 1985059"/>
                    <a:gd name="connsiteX8" fmla="*/ 2492445 w 2492593"/>
                    <a:gd name="connsiteY8" fmla="*/ 1974724 h 1985059"/>
                    <a:gd name="connsiteX9" fmla="*/ 2491971 w 2492593"/>
                    <a:gd name="connsiteY9" fmla="*/ 1974439 h 1985059"/>
                    <a:gd name="connsiteX10" fmla="*/ 2492357 w 2492593"/>
                    <a:gd name="connsiteY10" fmla="*/ 1985059 h 1985059"/>
                    <a:gd name="connsiteX11" fmla="*/ 2479330 w 2492593"/>
                    <a:gd name="connsiteY11" fmla="*/ 1977229 h 1985059"/>
                    <a:gd name="connsiteX12" fmla="*/ 2468130 w 2492593"/>
                    <a:gd name="connsiteY12" fmla="*/ 1970497 h 1985059"/>
                    <a:gd name="connsiteX13" fmla="*/ 2468630 w 2492593"/>
                    <a:gd name="connsiteY13" fmla="*/ 1984249 h 1985059"/>
                    <a:gd name="connsiteX14" fmla="*/ 2099863 w 2492593"/>
                    <a:gd name="connsiteY14" fmla="*/ 1762610 h 1985059"/>
                    <a:gd name="connsiteX15" fmla="*/ 2024341 w 2492593"/>
                    <a:gd name="connsiteY15" fmla="*/ 1717219 h 1985059"/>
                    <a:gd name="connsiteX16" fmla="*/ 2065487 w 2492593"/>
                    <a:gd name="connsiteY16" fmla="*/ 1683261 h 1985059"/>
                    <a:gd name="connsiteX17" fmla="*/ 2065686 w 2492593"/>
                    <a:gd name="connsiteY17" fmla="*/ 1681963 h 1985059"/>
                    <a:gd name="connsiteX18" fmla="*/ 2040086 w 2492593"/>
                    <a:gd name="connsiteY18" fmla="*/ 1703090 h 1985059"/>
                    <a:gd name="connsiteX19" fmla="*/ 2042890 w 2492593"/>
                    <a:gd name="connsiteY19" fmla="*/ 1684867 h 1985059"/>
                    <a:gd name="connsiteX20" fmla="*/ 2042890 w 2492593"/>
                    <a:gd name="connsiteY20" fmla="*/ 1666640 h 1985059"/>
                    <a:gd name="connsiteX21" fmla="*/ 2042890 w 2492593"/>
                    <a:gd name="connsiteY21" fmla="*/ 1649818 h 1985059"/>
                    <a:gd name="connsiteX22" fmla="*/ 2040086 w 2492593"/>
                    <a:gd name="connsiteY22" fmla="*/ 1630190 h 1985059"/>
                    <a:gd name="connsiteX23" fmla="*/ 2040086 w 2492593"/>
                    <a:gd name="connsiteY23" fmla="*/ 1611966 h 1985059"/>
                    <a:gd name="connsiteX24" fmla="*/ 2038684 w 2492593"/>
                    <a:gd name="connsiteY24" fmla="*/ 1593741 h 1985059"/>
                    <a:gd name="connsiteX25" fmla="*/ 2035880 w 2492593"/>
                    <a:gd name="connsiteY25" fmla="*/ 1574114 h 1985059"/>
                    <a:gd name="connsiteX26" fmla="*/ 2034478 w 2492593"/>
                    <a:gd name="connsiteY26" fmla="*/ 1555890 h 1985059"/>
                    <a:gd name="connsiteX27" fmla="*/ 2031674 w 2492593"/>
                    <a:gd name="connsiteY27" fmla="*/ 1537665 h 1985059"/>
                    <a:gd name="connsiteX28" fmla="*/ 2028871 w 2492593"/>
                    <a:gd name="connsiteY28" fmla="*/ 1518039 h 1985059"/>
                    <a:gd name="connsiteX29" fmla="*/ 2024665 w 2492593"/>
                    <a:gd name="connsiteY29" fmla="*/ 1499812 h 1985059"/>
                    <a:gd name="connsiteX30" fmla="*/ 2020459 w 2492593"/>
                    <a:gd name="connsiteY30" fmla="*/ 1481588 h 1985059"/>
                    <a:gd name="connsiteX31" fmla="*/ 2016253 w 2492593"/>
                    <a:gd name="connsiteY31" fmla="*/ 1461961 h 1985059"/>
                    <a:gd name="connsiteX32" fmla="*/ 2010646 w 2492593"/>
                    <a:gd name="connsiteY32" fmla="*/ 1442335 h 1985059"/>
                    <a:gd name="connsiteX33" fmla="*/ 2005038 w 2492593"/>
                    <a:gd name="connsiteY33" fmla="*/ 1424108 h 1985059"/>
                    <a:gd name="connsiteX34" fmla="*/ 1999430 w 2492593"/>
                    <a:gd name="connsiteY34" fmla="*/ 1403081 h 1985059"/>
                    <a:gd name="connsiteX35" fmla="*/ 1993823 w 2492593"/>
                    <a:gd name="connsiteY35" fmla="*/ 1384856 h 1985059"/>
                    <a:gd name="connsiteX36" fmla="*/ 1985411 w 2492593"/>
                    <a:gd name="connsiteY36" fmla="*/ 1365228 h 1985059"/>
                    <a:gd name="connsiteX37" fmla="*/ 1978401 w 2492593"/>
                    <a:gd name="connsiteY37" fmla="*/ 1347004 h 1985059"/>
                    <a:gd name="connsiteX38" fmla="*/ 1971392 w 2492593"/>
                    <a:gd name="connsiteY38" fmla="*/ 1327377 h 1985059"/>
                    <a:gd name="connsiteX39" fmla="*/ 1962980 w 2492593"/>
                    <a:gd name="connsiteY39" fmla="*/ 1307750 h 1985059"/>
                    <a:gd name="connsiteX40" fmla="*/ 1955971 w 2492593"/>
                    <a:gd name="connsiteY40" fmla="*/ 1288124 h 1985059"/>
                    <a:gd name="connsiteX41" fmla="*/ 1947559 w 2492593"/>
                    <a:gd name="connsiteY41" fmla="*/ 1269897 h 1985059"/>
                    <a:gd name="connsiteX42" fmla="*/ 1937746 w 2492593"/>
                    <a:gd name="connsiteY42" fmla="*/ 1250272 h 1985059"/>
                    <a:gd name="connsiteX43" fmla="*/ 1927933 w 2492593"/>
                    <a:gd name="connsiteY43" fmla="*/ 1232047 h 1985059"/>
                    <a:gd name="connsiteX44" fmla="*/ 1918119 w 2492593"/>
                    <a:gd name="connsiteY44" fmla="*/ 1212419 h 1985059"/>
                    <a:gd name="connsiteX45" fmla="*/ 1908306 w 2492593"/>
                    <a:gd name="connsiteY45" fmla="*/ 1192792 h 1985059"/>
                    <a:gd name="connsiteX46" fmla="*/ 1898492 w 2492593"/>
                    <a:gd name="connsiteY46" fmla="*/ 1174568 h 1985059"/>
                    <a:gd name="connsiteX47" fmla="*/ 1887277 w 2492593"/>
                    <a:gd name="connsiteY47" fmla="*/ 1156343 h 1985059"/>
                    <a:gd name="connsiteX48" fmla="*/ 1874659 w 2492593"/>
                    <a:gd name="connsiteY48" fmla="*/ 1136716 h 1985059"/>
                    <a:gd name="connsiteX49" fmla="*/ 1863445 w 2492593"/>
                    <a:gd name="connsiteY49" fmla="*/ 1118491 h 1985059"/>
                    <a:gd name="connsiteX50" fmla="*/ 1852229 w 2492593"/>
                    <a:gd name="connsiteY50" fmla="*/ 1100266 h 1985059"/>
                    <a:gd name="connsiteX51" fmla="*/ 1852818 w 2492593"/>
                    <a:gd name="connsiteY51" fmla="*/ 1099737 h 1985059"/>
                    <a:gd name="connsiteX52" fmla="*/ 1807405 w 2492593"/>
                    <a:gd name="connsiteY52" fmla="*/ 1032970 h 1985059"/>
                    <a:gd name="connsiteX53" fmla="*/ 1798928 w 2492593"/>
                    <a:gd name="connsiteY53" fmla="*/ 1021733 h 1985059"/>
                    <a:gd name="connsiteX54" fmla="*/ 1791886 w 2492593"/>
                    <a:gd name="connsiteY54" fmla="*/ 1011959 h 1985059"/>
                    <a:gd name="connsiteX55" fmla="*/ 1782114 w 2492593"/>
                    <a:gd name="connsiteY55" fmla="*/ 1000723 h 1985059"/>
                    <a:gd name="connsiteX56" fmla="*/ 1773779 w 2492593"/>
                    <a:gd name="connsiteY56" fmla="*/ 989484 h 1985059"/>
                    <a:gd name="connsiteX57" fmla="*/ 1763865 w 2492593"/>
                    <a:gd name="connsiteY57" fmla="*/ 976863 h 1985059"/>
                    <a:gd name="connsiteX58" fmla="*/ 1755531 w 2492593"/>
                    <a:gd name="connsiteY58" fmla="*/ 965704 h 1985059"/>
                    <a:gd name="connsiteX59" fmla="*/ 1747052 w 2492593"/>
                    <a:gd name="connsiteY59" fmla="*/ 954467 h 1985059"/>
                    <a:gd name="connsiteX60" fmla="*/ 1737281 w 2492593"/>
                    <a:gd name="connsiteY60" fmla="*/ 944691 h 1985059"/>
                    <a:gd name="connsiteX61" fmla="*/ 1727509 w 2492593"/>
                    <a:gd name="connsiteY61" fmla="*/ 933454 h 1985059"/>
                    <a:gd name="connsiteX62" fmla="*/ 1719031 w 2492593"/>
                    <a:gd name="connsiteY62" fmla="*/ 922217 h 1985059"/>
                    <a:gd name="connsiteX63" fmla="*/ 1707823 w 2492593"/>
                    <a:gd name="connsiteY63" fmla="*/ 910981 h 1985059"/>
                    <a:gd name="connsiteX64" fmla="*/ 1698051 w 2492593"/>
                    <a:gd name="connsiteY64" fmla="*/ 901207 h 1985059"/>
                    <a:gd name="connsiteX65" fmla="*/ 1688136 w 2492593"/>
                    <a:gd name="connsiteY65" fmla="*/ 889969 h 1985059"/>
                    <a:gd name="connsiteX66" fmla="*/ 1678365 w 2492593"/>
                    <a:gd name="connsiteY66" fmla="*/ 880194 h 1985059"/>
                    <a:gd name="connsiteX67" fmla="*/ 1668593 w 2492593"/>
                    <a:gd name="connsiteY67" fmla="*/ 867571 h 1985059"/>
                    <a:gd name="connsiteX68" fmla="*/ 1657385 w 2492593"/>
                    <a:gd name="connsiteY68" fmla="*/ 857721 h 1985059"/>
                    <a:gd name="connsiteX69" fmla="*/ 1647614 w 2492593"/>
                    <a:gd name="connsiteY69" fmla="*/ 847946 h 1985059"/>
                    <a:gd name="connsiteX70" fmla="*/ 1637699 w 2492593"/>
                    <a:gd name="connsiteY70" fmla="*/ 838095 h 1985059"/>
                    <a:gd name="connsiteX71" fmla="*/ 1626490 w 2492593"/>
                    <a:gd name="connsiteY71" fmla="*/ 828320 h 1985059"/>
                    <a:gd name="connsiteX72" fmla="*/ 1616719 w 2492593"/>
                    <a:gd name="connsiteY72" fmla="*/ 817082 h 1985059"/>
                    <a:gd name="connsiteX73" fmla="*/ 1604074 w 2492593"/>
                    <a:gd name="connsiteY73" fmla="*/ 807231 h 1985059"/>
                    <a:gd name="connsiteX74" fmla="*/ 1594302 w 2492593"/>
                    <a:gd name="connsiteY74" fmla="*/ 797456 h 1985059"/>
                    <a:gd name="connsiteX75" fmla="*/ 1583094 w 2492593"/>
                    <a:gd name="connsiteY75" fmla="*/ 787605 h 1985059"/>
                    <a:gd name="connsiteX76" fmla="*/ 1571886 w 2492593"/>
                    <a:gd name="connsiteY76" fmla="*/ 779215 h 1985059"/>
                    <a:gd name="connsiteX77" fmla="*/ 1560677 w 2492593"/>
                    <a:gd name="connsiteY77" fmla="*/ 769442 h 1985059"/>
                    <a:gd name="connsiteX78" fmla="*/ 1548032 w 2492593"/>
                    <a:gd name="connsiteY78" fmla="*/ 758204 h 1985059"/>
                    <a:gd name="connsiteX79" fmla="*/ 1536824 w 2492593"/>
                    <a:gd name="connsiteY79" fmla="*/ 749814 h 1985059"/>
                    <a:gd name="connsiteX80" fmla="*/ 1525616 w 2492593"/>
                    <a:gd name="connsiteY80" fmla="*/ 739962 h 1985059"/>
                    <a:gd name="connsiteX81" fmla="*/ 1514407 w 2492593"/>
                    <a:gd name="connsiteY81" fmla="*/ 731574 h 1985059"/>
                    <a:gd name="connsiteX82" fmla="*/ 1503200 w 2492593"/>
                    <a:gd name="connsiteY82" fmla="*/ 721723 h 1985059"/>
                    <a:gd name="connsiteX83" fmla="*/ 1490554 w 2492593"/>
                    <a:gd name="connsiteY83" fmla="*/ 713333 h 1985059"/>
                    <a:gd name="connsiteX84" fmla="*/ 1454055 w 2492593"/>
                    <a:gd name="connsiteY84" fmla="*/ 686703 h 1985059"/>
                    <a:gd name="connsiteX85" fmla="*/ 1417700 w 2492593"/>
                    <a:gd name="connsiteY85" fmla="*/ 662843 h 1985059"/>
                    <a:gd name="connsiteX86" fmla="*/ 1381200 w 2492593"/>
                    <a:gd name="connsiteY86" fmla="*/ 639062 h 1985059"/>
                    <a:gd name="connsiteX87" fmla="*/ 1346139 w 2492593"/>
                    <a:gd name="connsiteY87" fmla="*/ 619435 h 1985059"/>
                    <a:gd name="connsiteX88" fmla="*/ 1309639 w 2492593"/>
                    <a:gd name="connsiteY88" fmla="*/ 598347 h 1985059"/>
                    <a:gd name="connsiteX89" fmla="*/ 1273284 w 2492593"/>
                    <a:gd name="connsiteY89" fmla="*/ 581569 h 1985059"/>
                    <a:gd name="connsiteX90" fmla="*/ 1238223 w 2492593"/>
                    <a:gd name="connsiteY90" fmla="*/ 566099 h 1985059"/>
                    <a:gd name="connsiteX91" fmla="*/ 1201723 w 2492593"/>
                    <a:gd name="connsiteY91" fmla="*/ 550706 h 1985059"/>
                    <a:gd name="connsiteX92" fmla="*/ 1165225 w 2492593"/>
                    <a:gd name="connsiteY92" fmla="*/ 538084 h 1985059"/>
                    <a:gd name="connsiteX93" fmla="*/ 1131599 w 2492593"/>
                    <a:gd name="connsiteY93" fmla="*/ 525460 h 1985059"/>
                    <a:gd name="connsiteX94" fmla="*/ 1096537 w 2492593"/>
                    <a:gd name="connsiteY94" fmla="*/ 515686 h 1985059"/>
                    <a:gd name="connsiteX95" fmla="*/ 1082711 w 2492593"/>
                    <a:gd name="connsiteY95" fmla="*/ 512913 h 1985059"/>
                    <a:gd name="connsiteX96" fmla="*/ 1082708 w 2492593"/>
                    <a:gd name="connsiteY96" fmla="*/ 512913 h 1985059"/>
                    <a:gd name="connsiteX97" fmla="*/ 1071644 w 2492593"/>
                    <a:gd name="connsiteY97" fmla="*/ 510693 h 1985059"/>
                    <a:gd name="connsiteX98" fmla="*/ 1069393 w 2492593"/>
                    <a:gd name="connsiteY98" fmla="*/ 509898 h 1985059"/>
                    <a:gd name="connsiteX99" fmla="*/ 1041317 w 2492593"/>
                    <a:gd name="connsiteY99" fmla="*/ 504008 h 1985059"/>
                    <a:gd name="connsiteX100" fmla="*/ 1020610 w 2492593"/>
                    <a:gd name="connsiteY100" fmla="*/ 498234 h 1985059"/>
                    <a:gd name="connsiteX101" fmla="*/ 986985 w 2492593"/>
                    <a:gd name="connsiteY101" fmla="*/ 491231 h 1985059"/>
                    <a:gd name="connsiteX102" fmla="*/ 971524 w 2492593"/>
                    <a:gd name="connsiteY102" fmla="*/ 489366 h 1985059"/>
                    <a:gd name="connsiteX103" fmla="*/ 958338 w 2492593"/>
                    <a:gd name="connsiteY103" fmla="*/ 486598 h 1985059"/>
                    <a:gd name="connsiteX104" fmla="*/ 942188 w 2492593"/>
                    <a:gd name="connsiteY104" fmla="*/ 485772 h 1985059"/>
                    <a:gd name="connsiteX105" fmla="*/ 918297 w 2492593"/>
                    <a:gd name="connsiteY105" fmla="*/ 482765 h 1985059"/>
                    <a:gd name="connsiteX106" fmla="*/ 885966 w 2492593"/>
                    <a:gd name="connsiteY106" fmla="*/ 481381 h 1985059"/>
                    <a:gd name="connsiteX107" fmla="*/ 875093 w 2492593"/>
                    <a:gd name="connsiteY107" fmla="*/ 480912 h 1985059"/>
                    <a:gd name="connsiteX108" fmla="*/ 846611 w 2492593"/>
                    <a:gd name="connsiteY108" fmla="*/ 482190 h 1985059"/>
                    <a:gd name="connsiteX109" fmla="*/ 814423 w 2492593"/>
                    <a:gd name="connsiteY109" fmla="*/ 485037 h 1985059"/>
                    <a:gd name="connsiteX110" fmla="*/ 784965 w 2492593"/>
                    <a:gd name="connsiteY110" fmla="*/ 490656 h 1985059"/>
                    <a:gd name="connsiteX111" fmla="*/ 757200 w 2492593"/>
                    <a:gd name="connsiteY111" fmla="*/ 495879 h 1985059"/>
                    <a:gd name="connsiteX112" fmla="*/ 755929 w 2492593"/>
                    <a:gd name="connsiteY112" fmla="*/ 496040 h 1985059"/>
                    <a:gd name="connsiteX113" fmla="*/ 754975 w 2492593"/>
                    <a:gd name="connsiteY113" fmla="*/ 496366 h 1985059"/>
                    <a:gd name="connsiteX114" fmla="*/ 752198 w 2492593"/>
                    <a:gd name="connsiteY114" fmla="*/ 497252 h 1985059"/>
                    <a:gd name="connsiteX115" fmla="*/ 748795 w 2492593"/>
                    <a:gd name="connsiteY115" fmla="*/ 492187 h 1985059"/>
                    <a:gd name="connsiteX116" fmla="*/ 733472 w 2492593"/>
                    <a:gd name="connsiteY116" fmla="*/ 495069 h 1985059"/>
                    <a:gd name="connsiteX117" fmla="*/ 732201 w 2492593"/>
                    <a:gd name="connsiteY117" fmla="*/ 495230 h 1985059"/>
                    <a:gd name="connsiteX118" fmla="*/ 731247 w 2492593"/>
                    <a:gd name="connsiteY118" fmla="*/ 495557 h 1985059"/>
                    <a:gd name="connsiteX119" fmla="*/ 705195 w 2492593"/>
                    <a:gd name="connsiteY119" fmla="*/ 503853 h 1985059"/>
                    <a:gd name="connsiteX120" fmla="*/ 688240 w 2492593"/>
                    <a:gd name="connsiteY120" fmla="*/ 509768 h 1985059"/>
                    <a:gd name="connsiteX121" fmla="*/ 675699 w 2492593"/>
                    <a:gd name="connsiteY121" fmla="*/ 515340 h 1985059"/>
                    <a:gd name="connsiteX122" fmla="*/ 649115 w 2492593"/>
                    <a:gd name="connsiteY122" fmla="*/ 530732 h 1985059"/>
                    <a:gd name="connsiteX123" fmla="*/ 625261 w 2492593"/>
                    <a:gd name="connsiteY123" fmla="*/ 546203 h 1985059"/>
                    <a:gd name="connsiteX124" fmla="*/ 602845 w 2492593"/>
                    <a:gd name="connsiteY124" fmla="*/ 562981 h 1985059"/>
                    <a:gd name="connsiteX125" fmla="*/ 581722 w 2492593"/>
                    <a:gd name="connsiteY125" fmla="*/ 583992 h 1985059"/>
                    <a:gd name="connsiteX126" fmla="*/ 499507 w 2492593"/>
                    <a:gd name="connsiteY126" fmla="*/ 670076 h 1985059"/>
                    <a:gd name="connsiteX127" fmla="*/ 490861 w 2492593"/>
                    <a:gd name="connsiteY127" fmla="*/ 663718 h 1985059"/>
                    <a:gd name="connsiteX128" fmla="*/ 475692 w 2492593"/>
                    <a:gd name="connsiteY128" fmla="*/ 679601 h 1985059"/>
                    <a:gd name="connsiteX129" fmla="*/ 403000 w 2492593"/>
                    <a:gd name="connsiteY129" fmla="*/ 626145 h 1985059"/>
                    <a:gd name="connsiteX130" fmla="*/ 0 w 2492593"/>
                    <a:gd name="connsiteY130" fmla="*/ 329779 h 1985059"/>
                    <a:gd name="connsiteX131" fmla="*/ 54665 w 2492593"/>
                    <a:gd name="connsiteY131" fmla="*/ 246335 h 1985059"/>
                    <a:gd name="connsiteX132" fmla="*/ 120836 w 2492593"/>
                    <a:gd name="connsiteY132" fmla="*/ 175837 h 1985059"/>
                    <a:gd name="connsiteX133" fmla="*/ 234478 w 2492593"/>
                    <a:gd name="connsiteY133" fmla="*/ 93831 h 1985059"/>
                    <a:gd name="connsiteX134" fmla="*/ 363943 w 2492593"/>
                    <a:gd name="connsiteY134" fmla="*/ 40599 h 1985059"/>
                    <a:gd name="connsiteX135" fmla="*/ 365149 w 2492593"/>
                    <a:gd name="connsiteY135" fmla="*/ 40370 h 1985059"/>
                    <a:gd name="connsiteX136" fmla="*/ 387758 w 2492593"/>
                    <a:gd name="connsiteY136" fmla="*/ 31074 h 1985059"/>
                    <a:gd name="connsiteX137" fmla="*/ 531609 w 2492593"/>
                    <a:gd name="connsiteY137" fmla="*/ 3738 h 1985059"/>
                    <a:gd name="connsiteX138" fmla="*/ 686968 w 2492593"/>
                    <a:gd name="connsiteY138" fmla="*/ 861 h 1985059"/>
                    <a:gd name="connsiteX0" fmla="*/ 686968 w 2492595"/>
                    <a:gd name="connsiteY0" fmla="*/ 861 h 1985059"/>
                    <a:gd name="connsiteX1" fmla="*/ 848080 w 2492595"/>
                    <a:gd name="connsiteY1" fmla="*/ 22441 h 1985059"/>
                    <a:gd name="connsiteX2" fmla="*/ 1130028 w 2492595"/>
                    <a:gd name="connsiteY2" fmla="*/ 110202 h 1985059"/>
                    <a:gd name="connsiteX3" fmla="*/ 1302648 w 2492595"/>
                    <a:gd name="connsiteY3" fmla="*/ 193647 h 1985059"/>
                    <a:gd name="connsiteX4" fmla="*/ 1590349 w 2492595"/>
                    <a:gd name="connsiteY4" fmla="*/ 380680 h 1985059"/>
                    <a:gd name="connsiteX5" fmla="*/ 2000997 w 2492595"/>
                    <a:gd name="connsiteY5" fmla="*/ 776617 h 1985059"/>
                    <a:gd name="connsiteX6" fmla="*/ 2149377 w 2492595"/>
                    <a:gd name="connsiteY6" fmla="*/ 982592 h 1985059"/>
                    <a:gd name="connsiteX7" fmla="*/ 2157218 w 2492595"/>
                    <a:gd name="connsiteY7" fmla="*/ 993553 h 1985059"/>
                    <a:gd name="connsiteX8" fmla="*/ 2492445 w 2492595"/>
                    <a:gd name="connsiteY8" fmla="*/ 1974724 h 1985059"/>
                    <a:gd name="connsiteX9" fmla="*/ 2491971 w 2492595"/>
                    <a:gd name="connsiteY9" fmla="*/ 1974439 h 1985059"/>
                    <a:gd name="connsiteX10" fmla="*/ 2492357 w 2492595"/>
                    <a:gd name="connsiteY10" fmla="*/ 1985059 h 1985059"/>
                    <a:gd name="connsiteX11" fmla="*/ 2479330 w 2492595"/>
                    <a:gd name="connsiteY11" fmla="*/ 1977229 h 1985059"/>
                    <a:gd name="connsiteX12" fmla="*/ 2468130 w 2492595"/>
                    <a:gd name="connsiteY12" fmla="*/ 1970497 h 1985059"/>
                    <a:gd name="connsiteX13" fmla="*/ 2468630 w 2492595"/>
                    <a:gd name="connsiteY13" fmla="*/ 1984249 h 1985059"/>
                    <a:gd name="connsiteX14" fmla="*/ 2099863 w 2492595"/>
                    <a:gd name="connsiteY14" fmla="*/ 1762610 h 1985059"/>
                    <a:gd name="connsiteX15" fmla="*/ 2024341 w 2492595"/>
                    <a:gd name="connsiteY15" fmla="*/ 1717219 h 1985059"/>
                    <a:gd name="connsiteX16" fmla="*/ 2065487 w 2492595"/>
                    <a:gd name="connsiteY16" fmla="*/ 1683261 h 1985059"/>
                    <a:gd name="connsiteX17" fmla="*/ 2065686 w 2492595"/>
                    <a:gd name="connsiteY17" fmla="*/ 1681963 h 1985059"/>
                    <a:gd name="connsiteX18" fmla="*/ 2040086 w 2492595"/>
                    <a:gd name="connsiteY18" fmla="*/ 1703090 h 1985059"/>
                    <a:gd name="connsiteX19" fmla="*/ 2042890 w 2492595"/>
                    <a:gd name="connsiteY19" fmla="*/ 1684867 h 1985059"/>
                    <a:gd name="connsiteX20" fmla="*/ 2042890 w 2492595"/>
                    <a:gd name="connsiteY20" fmla="*/ 1666640 h 1985059"/>
                    <a:gd name="connsiteX21" fmla="*/ 2042890 w 2492595"/>
                    <a:gd name="connsiteY21" fmla="*/ 1649818 h 1985059"/>
                    <a:gd name="connsiteX22" fmla="*/ 2040086 w 2492595"/>
                    <a:gd name="connsiteY22" fmla="*/ 1630190 h 1985059"/>
                    <a:gd name="connsiteX23" fmla="*/ 2040086 w 2492595"/>
                    <a:gd name="connsiteY23" fmla="*/ 1611966 h 1985059"/>
                    <a:gd name="connsiteX24" fmla="*/ 2038684 w 2492595"/>
                    <a:gd name="connsiteY24" fmla="*/ 1593741 h 1985059"/>
                    <a:gd name="connsiteX25" fmla="*/ 2035880 w 2492595"/>
                    <a:gd name="connsiteY25" fmla="*/ 1574114 h 1985059"/>
                    <a:gd name="connsiteX26" fmla="*/ 2034478 w 2492595"/>
                    <a:gd name="connsiteY26" fmla="*/ 1555890 h 1985059"/>
                    <a:gd name="connsiteX27" fmla="*/ 2031674 w 2492595"/>
                    <a:gd name="connsiteY27" fmla="*/ 1537665 h 1985059"/>
                    <a:gd name="connsiteX28" fmla="*/ 2028871 w 2492595"/>
                    <a:gd name="connsiteY28" fmla="*/ 1518039 h 1985059"/>
                    <a:gd name="connsiteX29" fmla="*/ 2024665 w 2492595"/>
                    <a:gd name="connsiteY29" fmla="*/ 1499812 h 1985059"/>
                    <a:gd name="connsiteX30" fmla="*/ 2020459 w 2492595"/>
                    <a:gd name="connsiteY30" fmla="*/ 1481588 h 1985059"/>
                    <a:gd name="connsiteX31" fmla="*/ 2016253 w 2492595"/>
                    <a:gd name="connsiteY31" fmla="*/ 1461961 h 1985059"/>
                    <a:gd name="connsiteX32" fmla="*/ 2010646 w 2492595"/>
                    <a:gd name="connsiteY32" fmla="*/ 1442335 h 1985059"/>
                    <a:gd name="connsiteX33" fmla="*/ 2005038 w 2492595"/>
                    <a:gd name="connsiteY33" fmla="*/ 1424108 h 1985059"/>
                    <a:gd name="connsiteX34" fmla="*/ 1999430 w 2492595"/>
                    <a:gd name="connsiteY34" fmla="*/ 1403081 h 1985059"/>
                    <a:gd name="connsiteX35" fmla="*/ 1993823 w 2492595"/>
                    <a:gd name="connsiteY35" fmla="*/ 1384856 h 1985059"/>
                    <a:gd name="connsiteX36" fmla="*/ 1985411 w 2492595"/>
                    <a:gd name="connsiteY36" fmla="*/ 1365228 h 1985059"/>
                    <a:gd name="connsiteX37" fmla="*/ 1978401 w 2492595"/>
                    <a:gd name="connsiteY37" fmla="*/ 1347004 h 1985059"/>
                    <a:gd name="connsiteX38" fmla="*/ 1971392 w 2492595"/>
                    <a:gd name="connsiteY38" fmla="*/ 1327377 h 1985059"/>
                    <a:gd name="connsiteX39" fmla="*/ 1962980 w 2492595"/>
                    <a:gd name="connsiteY39" fmla="*/ 1307750 h 1985059"/>
                    <a:gd name="connsiteX40" fmla="*/ 1955971 w 2492595"/>
                    <a:gd name="connsiteY40" fmla="*/ 1288124 h 1985059"/>
                    <a:gd name="connsiteX41" fmla="*/ 1947559 w 2492595"/>
                    <a:gd name="connsiteY41" fmla="*/ 1269897 h 1985059"/>
                    <a:gd name="connsiteX42" fmla="*/ 1937746 w 2492595"/>
                    <a:gd name="connsiteY42" fmla="*/ 1250272 h 1985059"/>
                    <a:gd name="connsiteX43" fmla="*/ 1927933 w 2492595"/>
                    <a:gd name="connsiteY43" fmla="*/ 1232047 h 1985059"/>
                    <a:gd name="connsiteX44" fmla="*/ 1918119 w 2492595"/>
                    <a:gd name="connsiteY44" fmla="*/ 1212419 h 1985059"/>
                    <a:gd name="connsiteX45" fmla="*/ 1908306 w 2492595"/>
                    <a:gd name="connsiteY45" fmla="*/ 1192792 h 1985059"/>
                    <a:gd name="connsiteX46" fmla="*/ 1898492 w 2492595"/>
                    <a:gd name="connsiteY46" fmla="*/ 1174568 h 1985059"/>
                    <a:gd name="connsiteX47" fmla="*/ 1887277 w 2492595"/>
                    <a:gd name="connsiteY47" fmla="*/ 1156343 h 1985059"/>
                    <a:gd name="connsiteX48" fmla="*/ 1874659 w 2492595"/>
                    <a:gd name="connsiteY48" fmla="*/ 1136716 h 1985059"/>
                    <a:gd name="connsiteX49" fmla="*/ 1863445 w 2492595"/>
                    <a:gd name="connsiteY49" fmla="*/ 1118491 h 1985059"/>
                    <a:gd name="connsiteX50" fmla="*/ 1852229 w 2492595"/>
                    <a:gd name="connsiteY50" fmla="*/ 1100266 h 1985059"/>
                    <a:gd name="connsiteX51" fmla="*/ 1852818 w 2492595"/>
                    <a:gd name="connsiteY51" fmla="*/ 1099737 h 1985059"/>
                    <a:gd name="connsiteX52" fmla="*/ 1807405 w 2492595"/>
                    <a:gd name="connsiteY52" fmla="*/ 1032970 h 1985059"/>
                    <a:gd name="connsiteX53" fmla="*/ 1798928 w 2492595"/>
                    <a:gd name="connsiteY53" fmla="*/ 1021733 h 1985059"/>
                    <a:gd name="connsiteX54" fmla="*/ 1791886 w 2492595"/>
                    <a:gd name="connsiteY54" fmla="*/ 1011959 h 1985059"/>
                    <a:gd name="connsiteX55" fmla="*/ 1782114 w 2492595"/>
                    <a:gd name="connsiteY55" fmla="*/ 1000723 h 1985059"/>
                    <a:gd name="connsiteX56" fmla="*/ 1773779 w 2492595"/>
                    <a:gd name="connsiteY56" fmla="*/ 989484 h 1985059"/>
                    <a:gd name="connsiteX57" fmla="*/ 1763865 w 2492595"/>
                    <a:gd name="connsiteY57" fmla="*/ 976863 h 1985059"/>
                    <a:gd name="connsiteX58" fmla="*/ 1755531 w 2492595"/>
                    <a:gd name="connsiteY58" fmla="*/ 965704 h 1985059"/>
                    <a:gd name="connsiteX59" fmla="*/ 1747052 w 2492595"/>
                    <a:gd name="connsiteY59" fmla="*/ 954467 h 1985059"/>
                    <a:gd name="connsiteX60" fmla="*/ 1737281 w 2492595"/>
                    <a:gd name="connsiteY60" fmla="*/ 944691 h 1985059"/>
                    <a:gd name="connsiteX61" fmla="*/ 1727509 w 2492595"/>
                    <a:gd name="connsiteY61" fmla="*/ 933454 h 1985059"/>
                    <a:gd name="connsiteX62" fmla="*/ 1719031 w 2492595"/>
                    <a:gd name="connsiteY62" fmla="*/ 922217 h 1985059"/>
                    <a:gd name="connsiteX63" fmla="*/ 1707823 w 2492595"/>
                    <a:gd name="connsiteY63" fmla="*/ 910981 h 1985059"/>
                    <a:gd name="connsiteX64" fmla="*/ 1698051 w 2492595"/>
                    <a:gd name="connsiteY64" fmla="*/ 901207 h 1985059"/>
                    <a:gd name="connsiteX65" fmla="*/ 1688136 w 2492595"/>
                    <a:gd name="connsiteY65" fmla="*/ 889969 h 1985059"/>
                    <a:gd name="connsiteX66" fmla="*/ 1678365 w 2492595"/>
                    <a:gd name="connsiteY66" fmla="*/ 880194 h 1985059"/>
                    <a:gd name="connsiteX67" fmla="*/ 1668593 w 2492595"/>
                    <a:gd name="connsiteY67" fmla="*/ 867571 h 1985059"/>
                    <a:gd name="connsiteX68" fmla="*/ 1657385 w 2492595"/>
                    <a:gd name="connsiteY68" fmla="*/ 857721 h 1985059"/>
                    <a:gd name="connsiteX69" fmla="*/ 1647614 w 2492595"/>
                    <a:gd name="connsiteY69" fmla="*/ 847946 h 1985059"/>
                    <a:gd name="connsiteX70" fmla="*/ 1637699 w 2492595"/>
                    <a:gd name="connsiteY70" fmla="*/ 838095 h 1985059"/>
                    <a:gd name="connsiteX71" fmla="*/ 1626490 w 2492595"/>
                    <a:gd name="connsiteY71" fmla="*/ 828320 h 1985059"/>
                    <a:gd name="connsiteX72" fmla="*/ 1616719 w 2492595"/>
                    <a:gd name="connsiteY72" fmla="*/ 817082 h 1985059"/>
                    <a:gd name="connsiteX73" fmla="*/ 1604074 w 2492595"/>
                    <a:gd name="connsiteY73" fmla="*/ 807231 h 1985059"/>
                    <a:gd name="connsiteX74" fmla="*/ 1594302 w 2492595"/>
                    <a:gd name="connsiteY74" fmla="*/ 797456 h 1985059"/>
                    <a:gd name="connsiteX75" fmla="*/ 1583094 w 2492595"/>
                    <a:gd name="connsiteY75" fmla="*/ 787605 h 1985059"/>
                    <a:gd name="connsiteX76" fmla="*/ 1571886 w 2492595"/>
                    <a:gd name="connsiteY76" fmla="*/ 779215 h 1985059"/>
                    <a:gd name="connsiteX77" fmla="*/ 1560677 w 2492595"/>
                    <a:gd name="connsiteY77" fmla="*/ 769442 h 1985059"/>
                    <a:gd name="connsiteX78" fmla="*/ 1548032 w 2492595"/>
                    <a:gd name="connsiteY78" fmla="*/ 758204 h 1985059"/>
                    <a:gd name="connsiteX79" fmla="*/ 1536824 w 2492595"/>
                    <a:gd name="connsiteY79" fmla="*/ 749814 h 1985059"/>
                    <a:gd name="connsiteX80" fmla="*/ 1525616 w 2492595"/>
                    <a:gd name="connsiteY80" fmla="*/ 739962 h 1985059"/>
                    <a:gd name="connsiteX81" fmla="*/ 1514407 w 2492595"/>
                    <a:gd name="connsiteY81" fmla="*/ 731574 h 1985059"/>
                    <a:gd name="connsiteX82" fmla="*/ 1503200 w 2492595"/>
                    <a:gd name="connsiteY82" fmla="*/ 721723 h 1985059"/>
                    <a:gd name="connsiteX83" fmla="*/ 1490554 w 2492595"/>
                    <a:gd name="connsiteY83" fmla="*/ 713333 h 1985059"/>
                    <a:gd name="connsiteX84" fmla="*/ 1454055 w 2492595"/>
                    <a:gd name="connsiteY84" fmla="*/ 686703 h 1985059"/>
                    <a:gd name="connsiteX85" fmla="*/ 1417700 w 2492595"/>
                    <a:gd name="connsiteY85" fmla="*/ 662843 h 1985059"/>
                    <a:gd name="connsiteX86" fmla="*/ 1381200 w 2492595"/>
                    <a:gd name="connsiteY86" fmla="*/ 639062 h 1985059"/>
                    <a:gd name="connsiteX87" fmla="*/ 1346139 w 2492595"/>
                    <a:gd name="connsiteY87" fmla="*/ 619435 h 1985059"/>
                    <a:gd name="connsiteX88" fmla="*/ 1309639 w 2492595"/>
                    <a:gd name="connsiteY88" fmla="*/ 598347 h 1985059"/>
                    <a:gd name="connsiteX89" fmla="*/ 1273284 w 2492595"/>
                    <a:gd name="connsiteY89" fmla="*/ 581569 h 1985059"/>
                    <a:gd name="connsiteX90" fmla="*/ 1238223 w 2492595"/>
                    <a:gd name="connsiteY90" fmla="*/ 566099 h 1985059"/>
                    <a:gd name="connsiteX91" fmla="*/ 1201723 w 2492595"/>
                    <a:gd name="connsiteY91" fmla="*/ 550706 h 1985059"/>
                    <a:gd name="connsiteX92" fmla="*/ 1165225 w 2492595"/>
                    <a:gd name="connsiteY92" fmla="*/ 538084 h 1985059"/>
                    <a:gd name="connsiteX93" fmla="*/ 1131599 w 2492595"/>
                    <a:gd name="connsiteY93" fmla="*/ 525460 h 1985059"/>
                    <a:gd name="connsiteX94" fmla="*/ 1096537 w 2492595"/>
                    <a:gd name="connsiteY94" fmla="*/ 515686 h 1985059"/>
                    <a:gd name="connsiteX95" fmla="*/ 1082711 w 2492595"/>
                    <a:gd name="connsiteY95" fmla="*/ 512913 h 1985059"/>
                    <a:gd name="connsiteX96" fmla="*/ 1082708 w 2492595"/>
                    <a:gd name="connsiteY96" fmla="*/ 512913 h 1985059"/>
                    <a:gd name="connsiteX97" fmla="*/ 1071644 w 2492595"/>
                    <a:gd name="connsiteY97" fmla="*/ 510693 h 1985059"/>
                    <a:gd name="connsiteX98" fmla="*/ 1069393 w 2492595"/>
                    <a:gd name="connsiteY98" fmla="*/ 509898 h 1985059"/>
                    <a:gd name="connsiteX99" fmla="*/ 1041317 w 2492595"/>
                    <a:gd name="connsiteY99" fmla="*/ 504008 h 1985059"/>
                    <a:gd name="connsiteX100" fmla="*/ 1020610 w 2492595"/>
                    <a:gd name="connsiteY100" fmla="*/ 498234 h 1985059"/>
                    <a:gd name="connsiteX101" fmla="*/ 986985 w 2492595"/>
                    <a:gd name="connsiteY101" fmla="*/ 491231 h 1985059"/>
                    <a:gd name="connsiteX102" fmla="*/ 971524 w 2492595"/>
                    <a:gd name="connsiteY102" fmla="*/ 489366 h 1985059"/>
                    <a:gd name="connsiteX103" fmla="*/ 958338 w 2492595"/>
                    <a:gd name="connsiteY103" fmla="*/ 486598 h 1985059"/>
                    <a:gd name="connsiteX104" fmla="*/ 942188 w 2492595"/>
                    <a:gd name="connsiteY104" fmla="*/ 485772 h 1985059"/>
                    <a:gd name="connsiteX105" fmla="*/ 918297 w 2492595"/>
                    <a:gd name="connsiteY105" fmla="*/ 482765 h 1985059"/>
                    <a:gd name="connsiteX106" fmla="*/ 885966 w 2492595"/>
                    <a:gd name="connsiteY106" fmla="*/ 481381 h 1985059"/>
                    <a:gd name="connsiteX107" fmla="*/ 875093 w 2492595"/>
                    <a:gd name="connsiteY107" fmla="*/ 480912 h 1985059"/>
                    <a:gd name="connsiteX108" fmla="*/ 846611 w 2492595"/>
                    <a:gd name="connsiteY108" fmla="*/ 482190 h 1985059"/>
                    <a:gd name="connsiteX109" fmla="*/ 814423 w 2492595"/>
                    <a:gd name="connsiteY109" fmla="*/ 485037 h 1985059"/>
                    <a:gd name="connsiteX110" fmla="*/ 784965 w 2492595"/>
                    <a:gd name="connsiteY110" fmla="*/ 490656 h 1985059"/>
                    <a:gd name="connsiteX111" fmla="*/ 757200 w 2492595"/>
                    <a:gd name="connsiteY111" fmla="*/ 495879 h 1985059"/>
                    <a:gd name="connsiteX112" fmla="*/ 755929 w 2492595"/>
                    <a:gd name="connsiteY112" fmla="*/ 496040 h 1985059"/>
                    <a:gd name="connsiteX113" fmla="*/ 754975 w 2492595"/>
                    <a:gd name="connsiteY113" fmla="*/ 496366 h 1985059"/>
                    <a:gd name="connsiteX114" fmla="*/ 752198 w 2492595"/>
                    <a:gd name="connsiteY114" fmla="*/ 497252 h 1985059"/>
                    <a:gd name="connsiteX115" fmla="*/ 748795 w 2492595"/>
                    <a:gd name="connsiteY115" fmla="*/ 492187 h 1985059"/>
                    <a:gd name="connsiteX116" fmla="*/ 733472 w 2492595"/>
                    <a:gd name="connsiteY116" fmla="*/ 495069 h 1985059"/>
                    <a:gd name="connsiteX117" fmla="*/ 732201 w 2492595"/>
                    <a:gd name="connsiteY117" fmla="*/ 495230 h 1985059"/>
                    <a:gd name="connsiteX118" fmla="*/ 731247 w 2492595"/>
                    <a:gd name="connsiteY118" fmla="*/ 495557 h 1985059"/>
                    <a:gd name="connsiteX119" fmla="*/ 705195 w 2492595"/>
                    <a:gd name="connsiteY119" fmla="*/ 503853 h 1985059"/>
                    <a:gd name="connsiteX120" fmla="*/ 688240 w 2492595"/>
                    <a:gd name="connsiteY120" fmla="*/ 509768 h 1985059"/>
                    <a:gd name="connsiteX121" fmla="*/ 675699 w 2492595"/>
                    <a:gd name="connsiteY121" fmla="*/ 515340 h 1985059"/>
                    <a:gd name="connsiteX122" fmla="*/ 649115 w 2492595"/>
                    <a:gd name="connsiteY122" fmla="*/ 530732 h 1985059"/>
                    <a:gd name="connsiteX123" fmla="*/ 625261 w 2492595"/>
                    <a:gd name="connsiteY123" fmla="*/ 546203 h 1985059"/>
                    <a:gd name="connsiteX124" fmla="*/ 602845 w 2492595"/>
                    <a:gd name="connsiteY124" fmla="*/ 562981 h 1985059"/>
                    <a:gd name="connsiteX125" fmla="*/ 581722 w 2492595"/>
                    <a:gd name="connsiteY125" fmla="*/ 583992 h 1985059"/>
                    <a:gd name="connsiteX126" fmla="*/ 499507 w 2492595"/>
                    <a:gd name="connsiteY126" fmla="*/ 670076 h 1985059"/>
                    <a:gd name="connsiteX127" fmla="*/ 490861 w 2492595"/>
                    <a:gd name="connsiteY127" fmla="*/ 663718 h 1985059"/>
                    <a:gd name="connsiteX128" fmla="*/ 475692 w 2492595"/>
                    <a:gd name="connsiteY128" fmla="*/ 679601 h 1985059"/>
                    <a:gd name="connsiteX129" fmla="*/ 403000 w 2492595"/>
                    <a:gd name="connsiteY129" fmla="*/ 626145 h 1985059"/>
                    <a:gd name="connsiteX130" fmla="*/ 0 w 2492595"/>
                    <a:gd name="connsiteY130" fmla="*/ 329779 h 1985059"/>
                    <a:gd name="connsiteX131" fmla="*/ 54665 w 2492595"/>
                    <a:gd name="connsiteY131" fmla="*/ 246335 h 1985059"/>
                    <a:gd name="connsiteX132" fmla="*/ 120836 w 2492595"/>
                    <a:gd name="connsiteY132" fmla="*/ 175837 h 1985059"/>
                    <a:gd name="connsiteX133" fmla="*/ 234478 w 2492595"/>
                    <a:gd name="connsiteY133" fmla="*/ 93831 h 1985059"/>
                    <a:gd name="connsiteX134" fmla="*/ 363943 w 2492595"/>
                    <a:gd name="connsiteY134" fmla="*/ 40599 h 1985059"/>
                    <a:gd name="connsiteX135" fmla="*/ 365149 w 2492595"/>
                    <a:gd name="connsiteY135" fmla="*/ 40370 h 1985059"/>
                    <a:gd name="connsiteX136" fmla="*/ 387758 w 2492595"/>
                    <a:gd name="connsiteY136" fmla="*/ 31074 h 1985059"/>
                    <a:gd name="connsiteX137" fmla="*/ 531609 w 2492595"/>
                    <a:gd name="connsiteY137" fmla="*/ 3738 h 1985059"/>
                    <a:gd name="connsiteX138" fmla="*/ 686968 w 2492595"/>
                    <a:gd name="connsiteY138" fmla="*/ 861 h 1985059"/>
                    <a:gd name="connsiteX0" fmla="*/ 686968 w 2492595"/>
                    <a:gd name="connsiteY0" fmla="*/ 861 h 1985059"/>
                    <a:gd name="connsiteX1" fmla="*/ 848080 w 2492595"/>
                    <a:gd name="connsiteY1" fmla="*/ 22441 h 1985059"/>
                    <a:gd name="connsiteX2" fmla="*/ 1130028 w 2492595"/>
                    <a:gd name="connsiteY2" fmla="*/ 110202 h 1985059"/>
                    <a:gd name="connsiteX3" fmla="*/ 1302648 w 2492595"/>
                    <a:gd name="connsiteY3" fmla="*/ 193647 h 1985059"/>
                    <a:gd name="connsiteX4" fmla="*/ 1590349 w 2492595"/>
                    <a:gd name="connsiteY4" fmla="*/ 380680 h 1985059"/>
                    <a:gd name="connsiteX5" fmla="*/ 2000997 w 2492595"/>
                    <a:gd name="connsiteY5" fmla="*/ 776617 h 1985059"/>
                    <a:gd name="connsiteX6" fmla="*/ 2157218 w 2492595"/>
                    <a:gd name="connsiteY6" fmla="*/ 993553 h 1985059"/>
                    <a:gd name="connsiteX7" fmla="*/ 2492445 w 2492595"/>
                    <a:gd name="connsiteY7" fmla="*/ 1974724 h 1985059"/>
                    <a:gd name="connsiteX8" fmla="*/ 2491971 w 2492595"/>
                    <a:gd name="connsiteY8" fmla="*/ 1974439 h 1985059"/>
                    <a:gd name="connsiteX9" fmla="*/ 2492357 w 2492595"/>
                    <a:gd name="connsiteY9" fmla="*/ 1985059 h 1985059"/>
                    <a:gd name="connsiteX10" fmla="*/ 2479330 w 2492595"/>
                    <a:gd name="connsiteY10" fmla="*/ 1977229 h 1985059"/>
                    <a:gd name="connsiteX11" fmla="*/ 2468130 w 2492595"/>
                    <a:gd name="connsiteY11" fmla="*/ 1970497 h 1985059"/>
                    <a:gd name="connsiteX12" fmla="*/ 2468630 w 2492595"/>
                    <a:gd name="connsiteY12" fmla="*/ 1984249 h 1985059"/>
                    <a:gd name="connsiteX13" fmla="*/ 2099863 w 2492595"/>
                    <a:gd name="connsiteY13" fmla="*/ 1762610 h 1985059"/>
                    <a:gd name="connsiteX14" fmla="*/ 2024341 w 2492595"/>
                    <a:gd name="connsiteY14" fmla="*/ 1717219 h 1985059"/>
                    <a:gd name="connsiteX15" fmla="*/ 2065487 w 2492595"/>
                    <a:gd name="connsiteY15" fmla="*/ 1683261 h 1985059"/>
                    <a:gd name="connsiteX16" fmla="*/ 2065686 w 2492595"/>
                    <a:gd name="connsiteY16" fmla="*/ 1681963 h 1985059"/>
                    <a:gd name="connsiteX17" fmla="*/ 2040086 w 2492595"/>
                    <a:gd name="connsiteY17" fmla="*/ 1703090 h 1985059"/>
                    <a:gd name="connsiteX18" fmla="*/ 2042890 w 2492595"/>
                    <a:gd name="connsiteY18" fmla="*/ 1684867 h 1985059"/>
                    <a:gd name="connsiteX19" fmla="*/ 2042890 w 2492595"/>
                    <a:gd name="connsiteY19" fmla="*/ 1666640 h 1985059"/>
                    <a:gd name="connsiteX20" fmla="*/ 2042890 w 2492595"/>
                    <a:gd name="connsiteY20" fmla="*/ 1649818 h 1985059"/>
                    <a:gd name="connsiteX21" fmla="*/ 2040086 w 2492595"/>
                    <a:gd name="connsiteY21" fmla="*/ 1630190 h 1985059"/>
                    <a:gd name="connsiteX22" fmla="*/ 2040086 w 2492595"/>
                    <a:gd name="connsiteY22" fmla="*/ 1611966 h 1985059"/>
                    <a:gd name="connsiteX23" fmla="*/ 2038684 w 2492595"/>
                    <a:gd name="connsiteY23" fmla="*/ 1593741 h 1985059"/>
                    <a:gd name="connsiteX24" fmla="*/ 2035880 w 2492595"/>
                    <a:gd name="connsiteY24" fmla="*/ 1574114 h 1985059"/>
                    <a:gd name="connsiteX25" fmla="*/ 2034478 w 2492595"/>
                    <a:gd name="connsiteY25" fmla="*/ 1555890 h 1985059"/>
                    <a:gd name="connsiteX26" fmla="*/ 2031674 w 2492595"/>
                    <a:gd name="connsiteY26" fmla="*/ 1537665 h 1985059"/>
                    <a:gd name="connsiteX27" fmla="*/ 2028871 w 2492595"/>
                    <a:gd name="connsiteY27" fmla="*/ 1518039 h 1985059"/>
                    <a:gd name="connsiteX28" fmla="*/ 2024665 w 2492595"/>
                    <a:gd name="connsiteY28" fmla="*/ 1499812 h 1985059"/>
                    <a:gd name="connsiteX29" fmla="*/ 2020459 w 2492595"/>
                    <a:gd name="connsiteY29" fmla="*/ 1481588 h 1985059"/>
                    <a:gd name="connsiteX30" fmla="*/ 2016253 w 2492595"/>
                    <a:gd name="connsiteY30" fmla="*/ 1461961 h 1985059"/>
                    <a:gd name="connsiteX31" fmla="*/ 2010646 w 2492595"/>
                    <a:gd name="connsiteY31" fmla="*/ 1442335 h 1985059"/>
                    <a:gd name="connsiteX32" fmla="*/ 2005038 w 2492595"/>
                    <a:gd name="connsiteY32" fmla="*/ 1424108 h 1985059"/>
                    <a:gd name="connsiteX33" fmla="*/ 1999430 w 2492595"/>
                    <a:gd name="connsiteY33" fmla="*/ 1403081 h 1985059"/>
                    <a:gd name="connsiteX34" fmla="*/ 1993823 w 2492595"/>
                    <a:gd name="connsiteY34" fmla="*/ 1384856 h 1985059"/>
                    <a:gd name="connsiteX35" fmla="*/ 1985411 w 2492595"/>
                    <a:gd name="connsiteY35" fmla="*/ 1365228 h 1985059"/>
                    <a:gd name="connsiteX36" fmla="*/ 1978401 w 2492595"/>
                    <a:gd name="connsiteY36" fmla="*/ 1347004 h 1985059"/>
                    <a:gd name="connsiteX37" fmla="*/ 1971392 w 2492595"/>
                    <a:gd name="connsiteY37" fmla="*/ 1327377 h 1985059"/>
                    <a:gd name="connsiteX38" fmla="*/ 1962980 w 2492595"/>
                    <a:gd name="connsiteY38" fmla="*/ 1307750 h 1985059"/>
                    <a:gd name="connsiteX39" fmla="*/ 1955971 w 2492595"/>
                    <a:gd name="connsiteY39" fmla="*/ 1288124 h 1985059"/>
                    <a:gd name="connsiteX40" fmla="*/ 1947559 w 2492595"/>
                    <a:gd name="connsiteY40" fmla="*/ 1269897 h 1985059"/>
                    <a:gd name="connsiteX41" fmla="*/ 1937746 w 2492595"/>
                    <a:gd name="connsiteY41" fmla="*/ 1250272 h 1985059"/>
                    <a:gd name="connsiteX42" fmla="*/ 1927933 w 2492595"/>
                    <a:gd name="connsiteY42" fmla="*/ 1232047 h 1985059"/>
                    <a:gd name="connsiteX43" fmla="*/ 1918119 w 2492595"/>
                    <a:gd name="connsiteY43" fmla="*/ 1212419 h 1985059"/>
                    <a:gd name="connsiteX44" fmla="*/ 1908306 w 2492595"/>
                    <a:gd name="connsiteY44" fmla="*/ 1192792 h 1985059"/>
                    <a:gd name="connsiteX45" fmla="*/ 1898492 w 2492595"/>
                    <a:gd name="connsiteY45" fmla="*/ 1174568 h 1985059"/>
                    <a:gd name="connsiteX46" fmla="*/ 1887277 w 2492595"/>
                    <a:gd name="connsiteY46" fmla="*/ 1156343 h 1985059"/>
                    <a:gd name="connsiteX47" fmla="*/ 1874659 w 2492595"/>
                    <a:gd name="connsiteY47" fmla="*/ 1136716 h 1985059"/>
                    <a:gd name="connsiteX48" fmla="*/ 1863445 w 2492595"/>
                    <a:gd name="connsiteY48" fmla="*/ 1118491 h 1985059"/>
                    <a:gd name="connsiteX49" fmla="*/ 1852229 w 2492595"/>
                    <a:gd name="connsiteY49" fmla="*/ 1100266 h 1985059"/>
                    <a:gd name="connsiteX50" fmla="*/ 1852818 w 2492595"/>
                    <a:gd name="connsiteY50" fmla="*/ 1099737 h 1985059"/>
                    <a:gd name="connsiteX51" fmla="*/ 1807405 w 2492595"/>
                    <a:gd name="connsiteY51" fmla="*/ 1032970 h 1985059"/>
                    <a:gd name="connsiteX52" fmla="*/ 1798928 w 2492595"/>
                    <a:gd name="connsiteY52" fmla="*/ 1021733 h 1985059"/>
                    <a:gd name="connsiteX53" fmla="*/ 1791886 w 2492595"/>
                    <a:gd name="connsiteY53" fmla="*/ 1011959 h 1985059"/>
                    <a:gd name="connsiteX54" fmla="*/ 1782114 w 2492595"/>
                    <a:gd name="connsiteY54" fmla="*/ 1000723 h 1985059"/>
                    <a:gd name="connsiteX55" fmla="*/ 1773779 w 2492595"/>
                    <a:gd name="connsiteY55" fmla="*/ 989484 h 1985059"/>
                    <a:gd name="connsiteX56" fmla="*/ 1763865 w 2492595"/>
                    <a:gd name="connsiteY56" fmla="*/ 976863 h 1985059"/>
                    <a:gd name="connsiteX57" fmla="*/ 1755531 w 2492595"/>
                    <a:gd name="connsiteY57" fmla="*/ 965704 h 1985059"/>
                    <a:gd name="connsiteX58" fmla="*/ 1747052 w 2492595"/>
                    <a:gd name="connsiteY58" fmla="*/ 954467 h 1985059"/>
                    <a:gd name="connsiteX59" fmla="*/ 1737281 w 2492595"/>
                    <a:gd name="connsiteY59" fmla="*/ 944691 h 1985059"/>
                    <a:gd name="connsiteX60" fmla="*/ 1727509 w 2492595"/>
                    <a:gd name="connsiteY60" fmla="*/ 933454 h 1985059"/>
                    <a:gd name="connsiteX61" fmla="*/ 1719031 w 2492595"/>
                    <a:gd name="connsiteY61" fmla="*/ 922217 h 1985059"/>
                    <a:gd name="connsiteX62" fmla="*/ 1707823 w 2492595"/>
                    <a:gd name="connsiteY62" fmla="*/ 910981 h 1985059"/>
                    <a:gd name="connsiteX63" fmla="*/ 1698051 w 2492595"/>
                    <a:gd name="connsiteY63" fmla="*/ 901207 h 1985059"/>
                    <a:gd name="connsiteX64" fmla="*/ 1688136 w 2492595"/>
                    <a:gd name="connsiteY64" fmla="*/ 889969 h 1985059"/>
                    <a:gd name="connsiteX65" fmla="*/ 1678365 w 2492595"/>
                    <a:gd name="connsiteY65" fmla="*/ 880194 h 1985059"/>
                    <a:gd name="connsiteX66" fmla="*/ 1668593 w 2492595"/>
                    <a:gd name="connsiteY66" fmla="*/ 867571 h 1985059"/>
                    <a:gd name="connsiteX67" fmla="*/ 1657385 w 2492595"/>
                    <a:gd name="connsiteY67" fmla="*/ 857721 h 1985059"/>
                    <a:gd name="connsiteX68" fmla="*/ 1647614 w 2492595"/>
                    <a:gd name="connsiteY68" fmla="*/ 847946 h 1985059"/>
                    <a:gd name="connsiteX69" fmla="*/ 1637699 w 2492595"/>
                    <a:gd name="connsiteY69" fmla="*/ 838095 h 1985059"/>
                    <a:gd name="connsiteX70" fmla="*/ 1626490 w 2492595"/>
                    <a:gd name="connsiteY70" fmla="*/ 828320 h 1985059"/>
                    <a:gd name="connsiteX71" fmla="*/ 1616719 w 2492595"/>
                    <a:gd name="connsiteY71" fmla="*/ 817082 h 1985059"/>
                    <a:gd name="connsiteX72" fmla="*/ 1604074 w 2492595"/>
                    <a:gd name="connsiteY72" fmla="*/ 807231 h 1985059"/>
                    <a:gd name="connsiteX73" fmla="*/ 1594302 w 2492595"/>
                    <a:gd name="connsiteY73" fmla="*/ 797456 h 1985059"/>
                    <a:gd name="connsiteX74" fmla="*/ 1583094 w 2492595"/>
                    <a:gd name="connsiteY74" fmla="*/ 787605 h 1985059"/>
                    <a:gd name="connsiteX75" fmla="*/ 1571886 w 2492595"/>
                    <a:gd name="connsiteY75" fmla="*/ 779215 h 1985059"/>
                    <a:gd name="connsiteX76" fmla="*/ 1560677 w 2492595"/>
                    <a:gd name="connsiteY76" fmla="*/ 769442 h 1985059"/>
                    <a:gd name="connsiteX77" fmla="*/ 1548032 w 2492595"/>
                    <a:gd name="connsiteY77" fmla="*/ 758204 h 1985059"/>
                    <a:gd name="connsiteX78" fmla="*/ 1536824 w 2492595"/>
                    <a:gd name="connsiteY78" fmla="*/ 749814 h 1985059"/>
                    <a:gd name="connsiteX79" fmla="*/ 1525616 w 2492595"/>
                    <a:gd name="connsiteY79" fmla="*/ 739962 h 1985059"/>
                    <a:gd name="connsiteX80" fmla="*/ 1514407 w 2492595"/>
                    <a:gd name="connsiteY80" fmla="*/ 731574 h 1985059"/>
                    <a:gd name="connsiteX81" fmla="*/ 1503200 w 2492595"/>
                    <a:gd name="connsiteY81" fmla="*/ 721723 h 1985059"/>
                    <a:gd name="connsiteX82" fmla="*/ 1490554 w 2492595"/>
                    <a:gd name="connsiteY82" fmla="*/ 713333 h 1985059"/>
                    <a:gd name="connsiteX83" fmla="*/ 1454055 w 2492595"/>
                    <a:gd name="connsiteY83" fmla="*/ 686703 h 1985059"/>
                    <a:gd name="connsiteX84" fmla="*/ 1417700 w 2492595"/>
                    <a:gd name="connsiteY84" fmla="*/ 662843 h 1985059"/>
                    <a:gd name="connsiteX85" fmla="*/ 1381200 w 2492595"/>
                    <a:gd name="connsiteY85" fmla="*/ 639062 h 1985059"/>
                    <a:gd name="connsiteX86" fmla="*/ 1346139 w 2492595"/>
                    <a:gd name="connsiteY86" fmla="*/ 619435 h 1985059"/>
                    <a:gd name="connsiteX87" fmla="*/ 1309639 w 2492595"/>
                    <a:gd name="connsiteY87" fmla="*/ 598347 h 1985059"/>
                    <a:gd name="connsiteX88" fmla="*/ 1273284 w 2492595"/>
                    <a:gd name="connsiteY88" fmla="*/ 581569 h 1985059"/>
                    <a:gd name="connsiteX89" fmla="*/ 1238223 w 2492595"/>
                    <a:gd name="connsiteY89" fmla="*/ 566099 h 1985059"/>
                    <a:gd name="connsiteX90" fmla="*/ 1201723 w 2492595"/>
                    <a:gd name="connsiteY90" fmla="*/ 550706 h 1985059"/>
                    <a:gd name="connsiteX91" fmla="*/ 1165225 w 2492595"/>
                    <a:gd name="connsiteY91" fmla="*/ 538084 h 1985059"/>
                    <a:gd name="connsiteX92" fmla="*/ 1131599 w 2492595"/>
                    <a:gd name="connsiteY92" fmla="*/ 525460 h 1985059"/>
                    <a:gd name="connsiteX93" fmla="*/ 1096537 w 2492595"/>
                    <a:gd name="connsiteY93" fmla="*/ 515686 h 1985059"/>
                    <a:gd name="connsiteX94" fmla="*/ 1082711 w 2492595"/>
                    <a:gd name="connsiteY94" fmla="*/ 512913 h 1985059"/>
                    <a:gd name="connsiteX95" fmla="*/ 1082708 w 2492595"/>
                    <a:gd name="connsiteY95" fmla="*/ 512913 h 1985059"/>
                    <a:gd name="connsiteX96" fmla="*/ 1071644 w 2492595"/>
                    <a:gd name="connsiteY96" fmla="*/ 510693 h 1985059"/>
                    <a:gd name="connsiteX97" fmla="*/ 1069393 w 2492595"/>
                    <a:gd name="connsiteY97" fmla="*/ 509898 h 1985059"/>
                    <a:gd name="connsiteX98" fmla="*/ 1041317 w 2492595"/>
                    <a:gd name="connsiteY98" fmla="*/ 504008 h 1985059"/>
                    <a:gd name="connsiteX99" fmla="*/ 1020610 w 2492595"/>
                    <a:gd name="connsiteY99" fmla="*/ 498234 h 1985059"/>
                    <a:gd name="connsiteX100" fmla="*/ 986985 w 2492595"/>
                    <a:gd name="connsiteY100" fmla="*/ 491231 h 1985059"/>
                    <a:gd name="connsiteX101" fmla="*/ 971524 w 2492595"/>
                    <a:gd name="connsiteY101" fmla="*/ 489366 h 1985059"/>
                    <a:gd name="connsiteX102" fmla="*/ 958338 w 2492595"/>
                    <a:gd name="connsiteY102" fmla="*/ 486598 h 1985059"/>
                    <a:gd name="connsiteX103" fmla="*/ 942188 w 2492595"/>
                    <a:gd name="connsiteY103" fmla="*/ 485772 h 1985059"/>
                    <a:gd name="connsiteX104" fmla="*/ 918297 w 2492595"/>
                    <a:gd name="connsiteY104" fmla="*/ 482765 h 1985059"/>
                    <a:gd name="connsiteX105" fmla="*/ 885966 w 2492595"/>
                    <a:gd name="connsiteY105" fmla="*/ 481381 h 1985059"/>
                    <a:gd name="connsiteX106" fmla="*/ 875093 w 2492595"/>
                    <a:gd name="connsiteY106" fmla="*/ 480912 h 1985059"/>
                    <a:gd name="connsiteX107" fmla="*/ 846611 w 2492595"/>
                    <a:gd name="connsiteY107" fmla="*/ 482190 h 1985059"/>
                    <a:gd name="connsiteX108" fmla="*/ 814423 w 2492595"/>
                    <a:gd name="connsiteY108" fmla="*/ 485037 h 1985059"/>
                    <a:gd name="connsiteX109" fmla="*/ 784965 w 2492595"/>
                    <a:gd name="connsiteY109" fmla="*/ 490656 h 1985059"/>
                    <a:gd name="connsiteX110" fmla="*/ 757200 w 2492595"/>
                    <a:gd name="connsiteY110" fmla="*/ 495879 h 1985059"/>
                    <a:gd name="connsiteX111" fmla="*/ 755929 w 2492595"/>
                    <a:gd name="connsiteY111" fmla="*/ 496040 h 1985059"/>
                    <a:gd name="connsiteX112" fmla="*/ 754975 w 2492595"/>
                    <a:gd name="connsiteY112" fmla="*/ 496366 h 1985059"/>
                    <a:gd name="connsiteX113" fmla="*/ 752198 w 2492595"/>
                    <a:gd name="connsiteY113" fmla="*/ 497252 h 1985059"/>
                    <a:gd name="connsiteX114" fmla="*/ 748795 w 2492595"/>
                    <a:gd name="connsiteY114" fmla="*/ 492187 h 1985059"/>
                    <a:gd name="connsiteX115" fmla="*/ 733472 w 2492595"/>
                    <a:gd name="connsiteY115" fmla="*/ 495069 h 1985059"/>
                    <a:gd name="connsiteX116" fmla="*/ 732201 w 2492595"/>
                    <a:gd name="connsiteY116" fmla="*/ 495230 h 1985059"/>
                    <a:gd name="connsiteX117" fmla="*/ 731247 w 2492595"/>
                    <a:gd name="connsiteY117" fmla="*/ 495557 h 1985059"/>
                    <a:gd name="connsiteX118" fmla="*/ 705195 w 2492595"/>
                    <a:gd name="connsiteY118" fmla="*/ 503853 h 1985059"/>
                    <a:gd name="connsiteX119" fmla="*/ 688240 w 2492595"/>
                    <a:gd name="connsiteY119" fmla="*/ 509768 h 1985059"/>
                    <a:gd name="connsiteX120" fmla="*/ 675699 w 2492595"/>
                    <a:gd name="connsiteY120" fmla="*/ 515340 h 1985059"/>
                    <a:gd name="connsiteX121" fmla="*/ 649115 w 2492595"/>
                    <a:gd name="connsiteY121" fmla="*/ 530732 h 1985059"/>
                    <a:gd name="connsiteX122" fmla="*/ 625261 w 2492595"/>
                    <a:gd name="connsiteY122" fmla="*/ 546203 h 1985059"/>
                    <a:gd name="connsiteX123" fmla="*/ 602845 w 2492595"/>
                    <a:gd name="connsiteY123" fmla="*/ 562981 h 1985059"/>
                    <a:gd name="connsiteX124" fmla="*/ 581722 w 2492595"/>
                    <a:gd name="connsiteY124" fmla="*/ 583992 h 1985059"/>
                    <a:gd name="connsiteX125" fmla="*/ 499507 w 2492595"/>
                    <a:gd name="connsiteY125" fmla="*/ 670076 h 1985059"/>
                    <a:gd name="connsiteX126" fmla="*/ 490861 w 2492595"/>
                    <a:gd name="connsiteY126" fmla="*/ 663718 h 1985059"/>
                    <a:gd name="connsiteX127" fmla="*/ 475692 w 2492595"/>
                    <a:gd name="connsiteY127" fmla="*/ 679601 h 1985059"/>
                    <a:gd name="connsiteX128" fmla="*/ 403000 w 2492595"/>
                    <a:gd name="connsiteY128" fmla="*/ 626145 h 1985059"/>
                    <a:gd name="connsiteX129" fmla="*/ 0 w 2492595"/>
                    <a:gd name="connsiteY129" fmla="*/ 329779 h 1985059"/>
                    <a:gd name="connsiteX130" fmla="*/ 54665 w 2492595"/>
                    <a:gd name="connsiteY130" fmla="*/ 246335 h 1985059"/>
                    <a:gd name="connsiteX131" fmla="*/ 120836 w 2492595"/>
                    <a:gd name="connsiteY131" fmla="*/ 175837 h 1985059"/>
                    <a:gd name="connsiteX132" fmla="*/ 234478 w 2492595"/>
                    <a:gd name="connsiteY132" fmla="*/ 93831 h 1985059"/>
                    <a:gd name="connsiteX133" fmla="*/ 363943 w 2492595"/>
                    <a:gd name="connsiteY133" fmla="*/ 40599 h 1985059"/>
                    <a:gd name="connsiteX134" fmla="*/ 365149 w 2492595"/>
                    <a:gd name="connsiteY134" fmla="*/ 40370 h 1985059"/>
                    <a:gd name="connsiteX135" fmla="*/ 387758 w 2492595"/>
                    <a:gd name="connsiteY135" fmla="*/ 31074 h 1985059"/>
                    <a:gd name="connsiteX136" fmla="*/ 531609 w 2492595"/>
                    <a:gd name="connsiteY136" fmla="*/ 3738 h 1985059"/>
                    <a:gd name="connsiteX137" fmla="*/ 686968 w 2492595"/>
                    <a:gd name="connsiteY137" fmla="*/ 861 h 1985059"/>
                    <a:gd name="connsiteX0" fmla="*/ 686968 w 2492588"/>
                    <a:gd name="connsiteY0" fmla="*/ 861 h 1985059"/>
                    <a:gd name="connsiteX1" fmla="*/ 848080 w 2492588"/>
                    <a:gd name="connsiteY1" fmla="*/ 22441 h 1985059"/>
                    <a:gd name="connsiteX2" fmla="*/ 1130028 w 2492588"/>
                    <a:gd name="connsiteY2" fmla="*/ 110202 h 1985059"/>
                    <a:gd name="connsiteX3" fmla="*/ 1302648 w 2492588"/>
                    <a:gd name="connsiteY3" fmla="*/ 193647 h 1985059"/>
                    <a:gd name="connsiteX4" fmla="*/ 1590349 w 2492588"/>
                    <a:gd name="connsiteY4" fmla="*/ 380680 h 1985059"/>
                    <a:gd name="connsiteX5" fmla="*/ 2000997 w 2492588"/>
                    <a:gd name="connsiteY5" fmla="*/ 776617 h 1985059"/>
                    <a:gd name="connsiteX6" fmla="*/ 2148364 w 2492588"/>
                    <a:gd name="connsiteY6" fmla="*/ 978797 h 1985059"/>
                    <a:gd name="connsiteX7" fmla="*/ 2492445 w 2492588"/>
                    <a:gd name="connsiteY7" fmla="*/ 1974724 h 1985059"/>
                    <a:gd name="connsiteX8" fmla="*/ 2491971 w 2492588"/>
                    <a:gd name="connsiteY8" fmla="*/ 1974439 h 1985059"/>
                    <a:gd name="connsiteX9" fmla="*/ 2492357 w 2492588"/>
                    <a:gd name="connsiteY9" fmla="*/ 1985059 h 1985059"/>
                    <a:gd name="connsiteX10" fmla="*/ 2479330 w 2492588"/>
                    <a:gd name="connsiteY10" fmla="*/ 1977229 h 1985059"/>
                    <a:gd name="connsiteX11" fmla="*/ 2468130 w 2492588"/>
                    <a:gd name="connsiteY11" fmla="*/ 1970497 h 1985059"/>
                    <a:gd name="connsiteX12" fmla="*/ 2468630 w 2492588"/>
                    <a:gd name="connsiteY12" fmla="*/ 1984249 h 1985059"/>
                    <a:gd name="connsiteX13" fmla="*/ 2099863 w 2492588"/>
                    <a:gd name="connsiteY13" fmla="*/ 1762610 h 1985059"/>
                    <a:gd name="connsiteX14" fmla="*/ 2024341 w 2492588"/>
                    <a:gd name="connsiteY14" fmla="*/ 1717219 h 1985059"/>
                    <a:gd name="connsiteX15" fmla="*/ 2065487 w 2492588"/>
                    <a:gd name="connsiteY15" fmla="*/ 1683261 h 1985059"/>
                    <a:gd name="connsiteX16" fmla="*/ 2065686 w 2492588"/>
                    <a:gd name="connsiteY16" fmla="*/ 1681963 h 1985059"/>
                    <a:gd name="connsiteX17" fmla="*/ 2040086 w 2492588"/>
                    <a:gd name="connsiteY17" fmla="*/ 1703090 h 1985059"/>
                    <a:gd name="connsiteX18" fmla="*/ 2042890 w 2492588"/>
                    <a:gd name="connsiteY18" fmla="*/ 1684867 h 1985059"/>
                    <a:gd name="connsiteX19" fmla="*/ 2042890 w 2492588"/>
                    <a:gd name="connsiteY19" fmla="*/ 1666640 h 1985059"/>
                    <a:gd name="connsiteX20" fmla="*/ 2042890 w 2492588"/>
                    <a:gd name="connsiteY20" fmla="*/ 1649818 h 1985059"/>
                    <a:gd name="connsiteX21" fmla="*/ 2040086 w 2492588"/>
                    <a:gd name="connsiteY21" fmla="*/ 1630190 h 1985059"/>
                    <a:gd name="connsiteX22" fmla="*/ 2040086 w 2492588"/>
                    <a:gd name="connsiteY22" fmla="*/ 1611966 h 1985059"/>
                    <a:gd name="connsiteX23" fmla="*/ 2038684 w 2492588"/>
                    <a:gd name="connsiteY23" fmla="*/ 1593741 h 1985059"/>
                    <a:gd name="connsiteX24" fmla="*/ 2035880 w 2492588"/>
                    <a:gd name="connsiteY24" fmla="*/ 1574114 h 1985059"/>
                    <a:gd name="connsiteX25" fmla="*/ 2034478 w 2492588"/>
                    <a:gd name="connsiteY25" fmla="*/ 1555890 h 1985059"/>
                    <a:gd name="connsiteX26" fmla="*/ 2031674 w 2492588"/>
                    <a:gd name="connsiteY26" fmla="*/ 1537665 h 1985059"/>
                    <a:gd name="connsiteX27" fmla="*/ 2028871 w 2492588"/>
                    <a:gd name="connsiteY27" fmla="*/ 1518039 h 1985059"/>
                    <a:gd name="connsiteX28" fmla="*/ 2024665 w 2492588"/>
                    <a:gd name="connsiteY28" fmla="*/ 1499812 h 1985059"/>
                    <a:gd name="connsiteX29" fmla="*/ 2020459 w 2492588"/>
                    <a:gd name="connsiteY29" fmla="*/ 1481588 h 1985059"/>
                    <a:gd name="connsiteX30" fmla="*/ 2016253 w 2492588"/>
                    <a:gd name="connsiteY30" fmla="*/ 1461961 h 1985059"/>
                    <a:gd name="connsiteX31" fmla="*/ 2010646 w 2492588"/>
                    <a:gd name="connsiteY31" fmla="*/ 1442335 h 1985059"/>
                    <a:gd name="connsiteX32" fmla="*/ 2005038 w 2492588"/>
                    <a:gd name="connsiteY32" fmla="*/ 1424108 h 1985059"/>
                    <a:gd name="connsiteX33" fmla="*/ 1999430 w 2492588"/>
                    <a:gd name="connsiteY33" fmla="*/ 1403081 h 1985059"/>
                    <a:gd name="connsiteX34" fmla="*/ 1993823 w 2492588"/>
                    <a:gd name="connsiteY34" fmla="*/ 1384856 h 1985059"/>
                    <a:gd name="connsiteX35" fmla="*/ 1985411 w 2492588"/>
                    <a:gd name="connsiteY35" fmla="*/ 1365228 h 1985059"/>
                    <a:gd name="connsiteX36" fmla="*/ 1978401 w 2492588"/>
                    <a:gd name="connsiteY36" fmla="*/ 1347004 h 1985059"/>
                    <a:gd name="connsiteX37" fmla="*/ 1971392 w 2492588"/>
                    <a:gd name="connsiteY37" fmla="*/ 1327377 h 1985059"/>
                    <a:gd name="connsiteX38" fmla="*/ 1962980 w 2492588"/>
                    <a:gd name="connsiteY38" fmla="*/ 1307750 h 1985059"/>
                    <a:gd name="connsiteX39" fmla="*/ 1955971 w 2492588"/>
                    <a:gd name="connsiteY39" fmla="*/ 1288124 h 1985059"/>
                    <a:gd name="connsiteX40" fmla="*/ 1947559 w 2492588"/>
                    <a:gd name="connsiteY40" fmla="*/ 1269897 h 1985059"/>
                    <a:gd name="connsiteX41" fmla="*/ 1937746 w 2492588"/>
                    <a:gd name="connsiteY41" fmla="*/ 1250272 h 1985059"/>
                    <a:gd name="connsiteX42" fmla="*/ 1927933 w 2492588"/>
                    <a:gd name="connsiteY42" fmla="*/ 1232047 h 1985059"/>
                    <a:gd name="connsiteX43" fmla="*/ 1918119 w 2492588"/>
                    <a:gd name="connsiteY43" fmla="*/ 1212419 h 1985059"/>
                    <a:gd name="connsiteX44" fmla="*/ 1908306 w 2492588"/>
                    <a:gd name="connsiteY44" fmla="*/ 1192792 h 1985059"/>
                    <a:gd name="connsiteX45" fmla="*/ 1898492 w 2492588"/>
                    <a:gd name="connsiteY45" fmla="*/ 1174568 h 1985059"/>
                    <a:gd name="connsiteX46" fmla="*/ 1887277 w 2492588"/>
                    <a:gd name="connsiteY46" fmla="*/ 1156343 h 1985059"/>
                    <a:gd name="connsiteX47" fmla="*/ 1874659 w 2492588"/>
                    <a:gd name="connsiteY47" fmla="*/ 1136716 h 1985059"/>
                    <a:gd name="connsiteX48" fmla="*/ 1863445 w 2492588"/>
                    <a:gd name="connsiteY48" fmla="*/ 1118491 h 1985059"/>
                    <a:gd name="connsiteX49" fmla="*/ 1852229 w 2492588"/>
                    <a:gd name="connsiteY49" fmla="*/ 1100266 h 1985059"/>
                    <a:gd name="connsiteX50" fmla="*/ 1852818 w 2492588"/>
                    <a:gd name="connsiteY50" fmla="*/ 1099737 h 1985059"/>
                    <a:gd name="connsiteX51" fmla="*/ 1807405 w 2492588"/>
                    <a:gd name="connsiteY51" fmla="*/ 1032970 h 1985059"/>
                    <a:gd name="connsiteX52" fmla="*/ 1798928 w 2492588"/>
                    <a:gd name="connsiteY52" fmla="*/ 1021733 h 1985059"/>
                    <a:gd name="connsiteX53" fmla="*/ 1791886 w 2492588"/>
                    <a:gd name="connsiteY53" fmla="*/ 1011959 h 1985059"/>
                    <a:gd name="connsiteX54" fmla="*/ 1782114 w 2492588"/>
                    <a:gd name="connsiteY54" fmla="*/ 1000723 h 1985059"/>
                    <a:gd name="connsiteX55" fmla="*/ 1773779 w 2492588"/>
                    <a:gd name="connsiteY55" fmla="*/ 989484 h 1985059"/>
                    <a:gd name="connsiteX56" fmla="*/ 1763865 w 2492588"/>
                    <a:gd name="connsiteY56" fmla="*/ 976863 h 1985059"/>
                    <a:gd name="connsiteX57" fmla="*/ 1755531 w 2492588"/>
                    <a:gd name="connsiteY57" fmla="*/ 965704 h 1985059"/>
                    <a:gd name="connsiteX58" fmla="*/ 1747052 w 2492588"/>
                    <a:gd name="connsiteY58" fmla="*/ 954467 h 1985059"/>
                    <a:gd name="connsiteX59" fmla="*/ 1737281 w 2492588"/>
                    <a:gd name="connsiteY59" fmla="*/ 944691 h 1985059"/>
                    <a:gd name="connsiteX60" fmla="*/ 1727509 w 2492588"/>
                    <a:gd name="connsiteY60" fmla="*/ 933454 h 1985059"/>
                    <a:gd name="connsiteX61" fmla="*/ 1719031 w 2492588"/>
                    <a:gd name="connsiteY61" fmla="*/ 922217 h 1985059"/>
                    <a:gd name="connsiteX62" fmla="*/ 1707823 w 2492588"/>
                    <a:gd name="connsiteY62" fmla="*/ 910981 h 1985059"/>
                    <a:gd name="connsiteX63" fmla="*/ 1698051 w 2492588"/>
                    <a:gd name="connsiteY63" fmla="*/ 901207 h 1985059"/>
                    <a:gd name="connsiteX64" fmla="*/ 1688136 w 2492588"/>
                    <a:gd name="connsiteY64" fmla="*/ 889969 h 1985059"/>
                    <a:gd name="connsiteX65" fmla="*/ 1678365 w 2492588"/>
                    <a:gd name="connsiteY65" fmla="*/ 880194 h 1985059"/>
                    <a:gd name="connsiteX66" fmla="*/ 1668593 w 2492588"/>
                    <a:gd name="connsiteY66" fmla="*/ 867571 h 1985059"/>
                    <a:gd name="connsiteX67" fmla="*/ 1657385 w 2492588"/>
                    <a:gd name="connsiteY67" fmla="*/ 857721 h 1985059"/>
                    <a:gd name="connsiteX68" fmla="*/ 1647614 w 2492588"/>
                    <a:gd name="connsiteY68" fmla="*/ 847946 h 1985059"/>
                    <a:gd name="connsiteX69" fmla="*/ 1637699 w 2492588"/>
                    <a:gd name="connsiteY69" fmla="*/ 838095 h 1985059"/>
                    <a:gd name="connsiteX70" fmla="*/ 1626490 w 2492588"/>
                    <a:gd name="connsiteY70" fmla="*/ 828320 h 1985059"/>
                    <a:gd name="connsiteX71" fmla="*/ 1616719 w 2492588"/>
                    <a:gd name="connsiteY71" fmla="*/ 817082 h 1985059"/>
                    <a:gd name="connsiteX72" fmla="*/ 1604074 w 2492588"/>
                    <a:gd name="connsiteY72" fmla="*/ 807231 h 1985059"/>
                    <a:gd name="connsiteX73" fmla="*/ 1594302 w 2492588"/>
                    <a:gd name="connsiteY73" fmla="*/ 797456 h 1985059"/>
                    <a:gd name="connsiteX74" fmla="*/ 1583094 w 2492588"/>
                    <a:gd name="connsiteY74" fmla="*/ 787605 h 1985059"/>
                    <a:gd name="connsiteX75" fmla="*/ 1571886 w 2492588"/>
                    <a:gd name="connsiteY75" fmla="*/ 779215 h 1985059"/>
                    <a:gd name="connsiteX76" fmla="*/ 1560677 w 2492588"/>
                    <a:gd name="connsiteY76" fmla="*/ 769442 h 1985059"/>
                    <a:gd name="connsiteX77" fmla="*/ 1548032 w 2492588"/>
                    <a:gd name="connsiteY77" fmla="*/ 758204 h 1985059"/>
                    <a:gd name="connsiteX78" fmla="*/ 1536824 w 2492588"/>
                    <a:gd name="connsiteY78" fmla="*/ 749814 h 1985059"/>
                    <a:gd name="connsiteX79" fmla="*/ 1525616 w 2492588"/>
                    <a:gd name="connsiteY79" fmla="*/ 739962 h 1985059"/>
                    <a:gd name="connsiteX80" fmla="*/ 1514407 w 2492588"/>
                    <a:gd name="connsiteY80" fmla="*/ 731574 h 1985059"/>
                    <a:gd name="connsiteX81" fmla="*/ 1503200 w 2492588"/>
                    <a:gd name="connsiteY81" fmla="*/ 721723 h 1985059"/>
                    <a:gd name="connsiteX82" fmla="*/ 1490554 w 2492588"/>
                    <a:gd name="connsiteY82" fmla="*/ 713333 h 1985059"/>
                    <a:gd name="connsiteX83" fmla="*/ 1454055 w 2492588"/>
                    <a:gd name="connsiteY83" fmla="*/ 686703 h 1985059"/>
                    <a:gd name="connsiteX84" fmla="*/ 1417700 w 2492588"/>
                    <a:gd name="connsiteY84" fmla="*/ 662843 h 1985059"/>
                    <a:gd name="connsiteX85" fmla="*/ 1381200 w 2492588"/>
                    <a:gd name="connsiteY85" fmla="*/ 639062 h 1985059"/>
                    <a:gd name="connsiteX86" fmla="*/ 1346139 w 2492588"/>
                    <a:gd name="connsiteY86" fmla="*/ 619435 h 1985059"/>
                    <a:gd name="connsiteX87" fmla="*/ 1309639 w 2492588"/>
                    <a:gd name="connsiteY87" fmla="*/ 598347 h 1985059"/>
                    <a:gd name="connsiteX88" fmla="*/ 1273284 w 2492588"/>
                    <a:gd name="connsiteY88" fmla="*/ 581569 h 1985059"/>
                    <a:gd name="connsiteX89" fmla="*/ 1238223 w 2492588"/>
                    <a:gd name="connsiteY89" fmla="*/ 566099 h 1985059"/>
                    <a:gd name="connsiteX90" fmla="*/ 1201723 w 2492588"/>
                    <a:gd name="connsiteY90" fmla="*/ 550706 h 1985059"/>
                    <a:gd name="connsiteX91" fmla="*/ 1165225 w 2492588"/>
                    <a:gd name="connsiteY91" fmla="*/ 538084 h 1985059"/>
                    <a:gd name="connsiteX92" fmla="*/ 1131599 w 2492588"/>
                    <a:gd name="connsiteY92" fmla="*/ 525460 h 1985059"/>
                    <a:gd name="connsiteX93" fmla="*/ 1096537 w 2492588"/>
                    <a:gd name="connsiteY93" fmla="*/ 515686 h 1985059"/>
                    <a:gd name="connsiteX94" fmla="*/ 1082711 w 2492588"/>
                    <a:gd name="connsiteY94" fmla="*/ 512913 h 1985059"/>
                    <a:gd name="connsiteX95" fmla="*/ 1082708 w 2492588"/>
                    <a:gd name="connsiteY95" fmla="*/ 512913 h 1985059"/>
                    <a:gd name="connsiteX96" fmla="*/ 1071644 w 2492588"/>
                    <a:gd name="connsiteY96" fmla="*/ 510693 h 1985059"/>
                    <a:gd name="connsiteX97" fmla="*/ 1069393 w 2492588"/>
                    <a:gd name="connsiteY97" fmla="*/ 509898 h 1985059"/>
                    <a:gd name="connsiteX98" fmla="*/ 1041317 w 2492588"/>
                    <a:gd name="connsiteY98" fmla="*/ 504008 h 1985059"/>
                    <a:gd name="connsiteX99" fmla="*/ 1020610 w 2492588"/>
                    <a:gd name="connsiteY99" fmla="*/ 498234 h 1985059"/>
                    <a:gd name="connsiteX100" fmla="*/ 986985 w 2492588"/>
                    <a:gd name="connsiteY100" fmla="*/ 491231 h 1985059"/>
                    <a:gd name="connsiteX101" fmla="*/ 971524 w 2492588"/>
                    <a:gd name="connsiteY101" fmla="*/ 489366 h 1985059"/>
                    <a:gd name="connsiteX102" fmla="*/ 958338 w 2492588"/>
                    <a:gd name="connsiteY102" fmla="*/ 486598 h 1985059"/>
                    <a:gd name="connsiteX103" fmla="*/ 942188 w 2492588"/>
                    <a:gd name="connsiteY103" fmla="*/ 485772 h 1985059"/>
                    <a:gd name="connsiteX104" fmla="*/ 918297 w 2492588"/>
                    <a:gd name="connsiteY104" fmla="*/ 482765 h 1985059"/>
                    <a:gd name="connsiteX105" fmla="*/ 885966 w 2492588"/>
                    <a:gd name="connsiteY105" fmla="*/ 481381 h 1985059"/>
                    <a:gd name="connsiteX106" fmla="*/ 875093 w 2492588"/>
                    <a:gd name="connsiteY106" fmla="*/ 480912 h 1985059"/>
                    <a:gd name="connsiteX107" fmla="*/ 846611 w 2492588"/>
                    <a:gd name="connsiteY107" fmla="*/ 482190 h 1985059"/>
                    <a:gd name="connsiteX108" fmla="*/ 814423 w 2492588"/>
                    <a:gd name="connsiteY108" fmla="*/ 485037 h 1985059"/>
                    <a:gd name="connsiteX109" fmla="*/ 784965 w 2492588"/>
                    <a:gd name="connsiteY109" fmla="*/ 490656 h 1985059"/>
                    <a:gd name="connsiteX110" fmla="*/ 757200 w 2492588"/>
                    <a:gd name="connsiteY110" fmla="*/ 495879 h 1985059"/>
                    <a:gd name="connsiteX111" fmla="*/ 755929 w 2492588"/>
                    <a:gd name="connsiteY111" fmla="*/ 496040 h 1985059"/>
                    <a:gd name="connsiteX112" fmla="*/ 754975 w 2492588"/>
                    <a:gd name="connsiteY112" fmla="*/ 496366 h 1985059"/>
                    <a:gd name="connsiteX113" fmla="*/ 752198 w 2492588"/>
                    <a:gd name="connsiteY113" fmla="*/ 497252 h 1985059"/>
                    <a:gd name="connsiteX114" fmla="*/ 748795 w 2492588"/>
                    <a:gd name="connsiteY114" fmla="*/ 492187 h 1985059"/>
                    <a:gd name="connsiteX115" fmla="*/ 733472 w 2492588"/>
                    <a:gd name="connsiteY115" fmla="*/ 495069 h 1985059"/>
                    <a:gd name="connsiteX116" fmla="*/ 732201 w 2492588"/>
                    <a:gd name="connsiteY116" fmla="*/ 495230 h 1985059"/>
                    <a:gd name="connsiteX117" fmla="*/ 731247 w 2492588"/>
                    <a:gd name="connsiteY117" fmla="*/ 495557 h 1985059"/>
                    <a:gd name="connsiteX118" fmla="*/ 705195 w 2492588"/>
                    <a:gd name="connsiteY118" fmla="*/ 503853 h 1985059"/>
                    <a:gd name="connsiteX119" fmla="*/ 688240 w 2492588"/>
                    <a:gd name="connsiteY119" fmla="*/ 509768 h 1985059"/>
                    <a:gd name="connsiteX120" fmla="*/ 675699 w 2492588"/>
                    <a:gd name="connsiteY120" fmla="*/ 515340 h 1985059"/>
                    <a:gd name="connsiteX121" fmla="*/ 649115 w 2492588"/>
                    <a:gd name="connsiteY121" fmla="*/ 530732 h 1985059"/>
                    <a:gd name="connsiteX122" fmla="*/ 625261 w 2492588"/>
                    <a:gd name="connsiteY122" fmla="*/ 546203 h 1985059"/>
                    <a:gd name="connsiteX123" fmla="*/ 602845 w 2492588"/>
                    <a:gd name="connsiteY123" fmla="*/ 562981 h 1985059"/>
                    <a:gd name="connsiteX124" fmla="*/ 581722 w 2492588"/>
                    <a:gd name="connsiteY124" fmla="*/ 583992 h 1985059"/>
                    <a:gd name="connsiteX125" fmla="*/ 499507 w 2492588"/>
                    <a:gd name="connsiteY125" fmla="*/ 670076 h 1985059"/>
                    <a:gd name="connsiteX126" fmla="*/ 490861 w 2492588"/>
                    <a:gd name="connsiteY126" fmla="*/ 663718 h 1985059"/>
                    <a:gd name="connsiteX127" fmla="*/ 475692 w 2492588"/>
                    <a:gd name="connsiteY127" fmla="*/ 679601 h 1985059"/>
                    <a:gd name="connsiteX128" fmla="*/ 403000 w 2492588"/>
                    <a:gd name="connsiteY128" fmla="*/ 626145 h 1985059"/>
                    <a:gd name="connsiteX129" fmla="*/ 0 w 2492588"/>
                    <a:gd name="connsiteY129" fmla="*/ 329779 h 1985059"/>
                    <a:gd name="connsiteX130" fmla="*/ 54665 w 2492588"/>
                    <a:gd name="connsiteY130" fmla="*/ 246335 h 1985059"/>
                    <a:gd name="connsiteX131" fmla="*/ 120836 w 2492588"/>
                    <a:gd name="connsiteY131" fmla="*/ 175837 h 1985059"/>
                    <a:gd name="connsiteX132" fmla="*/ 234478 w 2492588"/>
                    <a:gd name="connsiteY132" fmla="*/ 93831 h 1985059"/>
                    <a:gd name="connsiteX133" fmla="*/ 363943 w 2492588"/>
                    <a:gd name="connsiteY133" fmla="*/ 40599 h 1985059"/>
                    <a:gd name="connsiteX134" fmla="*/ 365149 w 2492588"/>
                    <a:gd name="connsiteY134" fmla="*/ 40370 h 1985059"/>
                    <a:gd name="connsiteX135" fmla="*/ 387758 w 2492588"/>
                    <a:gd name="connsiteY135" fmla="*/ 31074 h 1985059"/>
                    <a:gd name="connsiteX136" fmla="*/ 531609 w 2492588"/>
                    <a:gd name="connsiteY136" fmla="*/ 3738 h 1985059"/>
                    <a:gd name="connsiteX137" fmla="*/ 686968 w 2492588"/>
                    <a:gd name="connsiteY137" fmla="*/ 861 h 1985059"/>
                    <a:gd name="connsiteX0" fmla="*/ 686968 w 2492588"/>
                    <a:gd name="connsiteY0" fmla="*/ 861 h 1985059"/>
                    <a:gd name="connsiteX1" fmla="*/ 848080 w 2492588"/>
                    <a:gd name="connsiteY1" fmla="*/ 22441 h 1985059"/>
                    <a:gd name="connsiteX2" fmla="*/ 1130028 w 2492588"/>
                    <a:gd name="connsiteY2" fmla="*/ 110202 h 1985059"/>
                    <a:gd name="connsiteX3" fmla="*/ 1302648 w 2492588"/>
                    <a:gd name="connsiteY3" fmla="*/ 193647 h 1985059"/>
                    <a:gd name="connsiteX4" fmla="*/ 1590349 w 2492588"/>
                    <a:gd name="connsiteY4" fmla="*/ 380680 h 1985059"/>
                    <a:gd name="connsiteX5" fmla="*/ 2000997 w 2492588"/>
                    <a:gd name="connsiteY5" fmla="*/ 776617 h 1985059"/>
                    <a:gd name="connsiteX6" fmla="*/ 2148364 w 2492588"/>
                    <a:gd name="connsiteY6" fmla="*/ 978797 h 1985059"/>
                    <a:gd name="connsiteX7" fmla="*/ 2492445 w 2492588"/>
                    <a:gd name="connsiteY7" fmla="*/ 1974724 h 1985059"/>
                    <a:gd name="connsiteX8" fmla="*/ 2491971 w 2492588"/>
                    <a:gd name="connsiteY8" fmla="*/ 1974439 h 1985059"/>
                    <a:gd name="connsiteX9" fmla="*/ 2492357 w 2492588"/>
                    <a:gd name="connsiteY9" fmla="*/ 1985059 h 1985059"/>
                    <a:gd name="connsiteX10" fmla="*/ 2479330 w 2492588"/>
                    <a:gd name="connsiteY10" fmla="*/ 1977229 h 1985059"/>
                    <a:gd name="connsiteX11" fmla="*/ 2468130 w 2492588"/>
                    <a:gd name="connsiteY11" fmla="*/ 1970497 h 1985059"/>
                    <a:gd name="connsiteX12" fmla="*/ 2468630 w 2492588"/>
                    <a:gd name="connsiteY12" fmla="*/ 1984249 h 1985059"/>
                    <a:gd name="connsiteX13" fmla="*/ 2099863 w 2492588"/>
                    <a:gd name="connsiteY13" fmla="*/ 1762610 h 1985059"/>
                    <a:gd name="connsiteX14" fmla="*/ 2024341 w 2492588"/>
                    <a:gd name="connsiteY14" fmla="*/ 1717219 h 1985059"/>
                    <a:gd name="connsiteX15" fmla="*/ 2065487 w 2492588"/>
                    <a:gd name="connsiteY15" fmla="*/ 1683261 h 1985059"/>
                    <a:gd name="connsiteX16" fmla="*/ 2065686 w 2492588"/>
                    <a:gd name="connsiteY16" fmla="*/ 1681963 h 1985059"/>
                    <a:gd name="connsiteX17" fmla="*/ 2040086 w 2492588"/>
                    <a:gd name="connsiteY17" fmla="*/ 1703090 h 1985059"/>
                    <a:gd name="connsiteX18" fmla="*/ 2042890 w 2492588"/>
                    <a:gd name="connsiteY18" fmla="*/ 1684867 h 1985059"/>
                    <a:gd name="connsiteX19" fmla="*/ 2042890 w 2492588"/>
                    <a:gd name="connsiteY19" fmla="*/ 1666640 h 1985059"/>
                    <a:gd name="connsiteX20" fmla="*/ 2042890 w 2492588"/>
                    <a:gd name="connsiteY20" fmla="*/ 1649818 h 1985059"/>
                    <a:gd name="connsiteX21" fmla="*/ 2040086 w 2492588"/>
                    <a:gd name="connsiteY21" fmla="*/ 1630190 h 1985059"/>
                    <a:gd name="connsiteX22" fmla="*/ 2040086 w 2492588"/>
                    <a:gd name="connsiteY22" fmla="*/ 1611966 h 1985059"/>
                    <a:gd name="connsiteX23" fmla="*/ 2038684 w 2492588"/>
                    <a:gd name="connsiteY23" fmla="*/ 1593741 h 1985059"/>
                    <a:gd name="connsiteX24" fmla="*/ 2035880 w 2492588"/>
                    <a:gd name="connsiteY24" fmla="*/ 1574114 h 1985059"/>
                    <a:gd name="connsiteX25" fmla="*/ 2034478 w 2492588"/>
                    <a:gd name="connsiteY25" fmla="*/ 1555890 h 1985059"/>
                    <a:gd name="connsiteX26" fmla="*/ 2031674 w 2492588"/>
                    <a:gd name="connsiteY26" fmla="*/ 1537665 h 1985059"/>
                    <a:gd name="connsiteX27" fmla="*/ 2028871 w 2492588"/>
                    <a:gd name="connsiteY27" fmla="*/ 1518039 h 1985059"/>
                    <a:gd name="connsiteX28" fmla="*/ 2024665 w 2492588"/>
                    <a:gd name="connsiteY28" fmla="*/ 1499812 h 1985059"/>
                    <a:gd name="connsiteX29" fmla="*/ 2020459 w 2492588"/>
                    <a:gd name="connsiteY29" fmla="*/ 1481588 h 1985059"/>
                    <a:gd name="connsiteX30" fmla="*/ 2016253 w 2492588"/>
                    <a:gd name="connsiteY30" fmla="*/ 1461961 h 1985059"/>
                    <a:gd name="connsiteX31" fmla="*/ 2010646 w 2492588"/>
                    <a:gd name="connsiteY31" fmla="*/ 1442335 h 1985059"/>
                    <a:gd name="connsiteX32" fmla="*/ 2005038 w 2492588"/>
                    <a:gd name="connsiteY32" fmla="*/ 1424108 h 1985059"/>
                    <a:gd name="connsiteX33" fmla="*/ 1999430 w 2492588"/>
                    <a:gd name="connsiteY33" fmla="*/ 1403081 h 1985059"/>
                    <a:gd name="connsiteX34" fmla="*/ 1993823 w 2492588"/>
                    <a:gd name="connsiteY34" fmla="*/ 1384856 h 1985059"/>
                    <a:gd name="connsiteX35" fmla="*/ 1985411 w 2492588"/>
                    <a:gd name="connsiteY35" fmla="*/ 1365228 h 1985059"/>
                    <a:gd name="connsiteX36" fmla="*/ 1978401 w 2492588"/>
                    <a:gd name="connsiteY36" fmla="*/ 1347004 h 1985059"/>
                    <a:gd name="connsiteX37" fmla="*/ 1971392 w 2492588"/>
                    <a:gd name="connsiteY37" fmla="*/ 1327377 h 1985059"/>
                    <a:gd name="connsiteX38" fmla="*/ 1962980 w 2492588"/>
                    <a:gd name="connsiteY38" fmla="*/ 1307750 h 1985059"/>
                    <a:gd name="connsiteX39" fmla="*/ 1955971 w 2492588"/>
                    <a:gd name="connsiteY39" fmla="*/ 1288124 h 1985059"/>
                    <a:gd name="connsiteX40" fmla="*/ 1947559 w 2492588"/>
                    <a:gd name="connsiteY40" fmla="*/ 1269897 h 1985059"/>
                    <a:gd name="connsiteX41" fmla="*/ 1937746 w 2492588"/>
                    <a:gd name="connsiteY41" fmla="*/ 1250272 h 1985059"/>
                    <a:gd name="connsiteX42" fmla="*/ 1927933 w 2492588"/>
                    <a:gd name="connsiteY42" fmla="*/ 1232047 h 1985059"/>
                    <a:gd name="connsiteX43" fmla="*/ 1918119 w 2492588"/>
                    <a:gd name="connsiteY43" fmla="*/ 1212419 h 1985059"/>
                    <a:gd name="connsiteX44" fmla="*/ 1908306 w 2492588"/>
                    <a:gd name="connsiteY44" fmla="*/ 1192792 h 1985059"/>
                    <a:gd name="connsiteX45" fmla="*/ 1898492 w 2492588"/>
                    <a:gd name="connsiteY45" fmla="*/ 1174568 h 1985059"/>
                    <a:gd name="connsiteX46" fmla="*/ 1887277 w 2492588"/>
                    <a:gd name="connsiteY46" fmla="*/ 1156343 h 1985059"/>
                    <a:gd name="connsiteX47" fmla="*/ 1874659 w 2492588"/>
                    <a:gd name="connsiteY47" fmla="*/ 1136716 h 1985059"/>
                    <a:gd name="connsiteX48" fmla="*/ 1863445 w 2492588"/>
                    <a:gd name="connsiteY48" fmla="*/ 1118491 h 1985059"/>
                    <a:gd name="connsiteX49" fmla="*/ 1852229 w 2492588"/>
                    <a:gd name="connsiteY49" fmla="*/ 1100266 h 1985059"/>
                    <a:gd name="connsiteX50" fmla="*/ 1852818 w 2492588"/>
                    <a:gd name="connsiteY50" fmla="*/ 1099737 h 1985059"/>
                    <a:gd name="connsiteX51" fmla="*/ 1807405 w 2492588"/>
                    <a:gd name="connsiteY51" fmla="*/ 1032970 h 1985059"/>
                    <a:gd name="connsiteX52" fmla="*/ 1798928 w 2492588"/>
                    <a:gd name="connsiteY52" fmla="*/ 1021733 h 1985059"/>
                    <a:gd name="connsiteX53" fmla="*/ 1791886 w 2492588"/>
                    <a:gd name="connsiteY53" fmla="*/ 1011959 h 1985059"/>
                    <a:gd name="connsiteX54" fmla="*/ 1782114 w 2492588"/>
                    <a:gd name="connsiteY54" fmla="*/ 1000723 h 1985059"/>
                    <a:gd name="connsiteX55" fmla="*/ 1773779 w 2492588"/>
                    <a:gd name="connsiteY55" fmla="*/ 989484 h 1985059"/>
                    <a:gd name="connsiteX56" fmla="*/ 1763865 w 2492588"/>
                    <a:gd name="connsiteY56" fmla="*/ 976863 h 1985059"/>
                    <a:gd name="connsiteX57" fmla="*/ 1755531 w 2492588"/>
                    <a:gd name="connsiteY57" fmla="*/ 965704 h 1985059"/>
                    <a:gd name="connsiteX58" fmla="*/ 1747052 w 2492588"/>
                    <a:gd name="connsiteY58" fmla="*/ 954467 h 1985059"/>
                    <a:gd name="connsiteX59" fmla="*/ 1737281 w 2492588"/>
                    <a:gd name="connsiteY59" fmla="*/ 944691 h 1985059"/>
                    <a:gd name="connsiteX60" fmla="*/ 1727509 w 2492588"/>
                    <a:gd name="connsiteY60" fmla="*/ 933454 h 1985059"/>
                    <a:gd name="connsiteX61" fmla="*/ 1719031 w 2492588"/>
                    <a:gd name="connsiteY61" fmla="*/ 922217 h 1985059"/>
                    <a:gd name="connsiteX62" fmla="*/ 1707823 w 2492588"/>
                    <a:gd name="connsiteY62" fmla="*/ 910981 h 1985059"/>
                    <a:gd name="connsiteX63" fmla="*/ 1698051 w 2492588"/>
                    <a:gd name="connsiteY63" fmla="*/ 901207 h 1985059"/>
                    <a:gd name="connsiteX64" fmla="*/ 1688136 w 2492588"/>
                    <a:gd name="connsiteY64" fmla="*/ 889969 h 1985059"/>
                    <a:gd name="connsiteX65" fmla="*/ 1678365 w 2492588"/>
                    <a:gd name="connsiteY65" fmla="*/ 880194 h 1985059"/>
                    <a:gd name="connsiteX66" fmla="*/ 1668593 w 2492588"/>
                    <a:gd name="connsiteY66" fmla="*/ 867571 h 1985059"/>
                    <a:gd name="connsiteX67" fmla="*/ 1657385 w 2492588"/>
                    <a:gd name="connsiteY67" fmla="*/ 857721 h 1985059"/>
                    <a:gd name="connsiteX68" fmla="*/ 1647614 w 2492588"/>
                    <a:gd name="connsiteY68" fmla="*/ 847946 h 1985059"/>
                    <a:gd name="connsiteX69" fmla="*/ 1637699 w 2492588"/>
                    <a:gd name="connsiteY69" fmla="*/ 838095 h 1985059"/>
                    <a:gd name="connsiteX70" fmla="*/ 1626490 w 2492588"/>
                    <a:gd name="connsiteY70" fmla="*/ 828320 h 1985059"/>
                    <a:gd name="connsiteX71" fmla="*/ 1616719 w 2492588"/>
                    <a:gd name="connsiteY71" fmla="*/ 817082 h 1985059"/>
                    <a:gd name="connsiteX72" fmla="*/ 1604074 w 2492588"/>
                    <a:gd name="connsiteY72" fmla="*/ 807231 h 1985059"/>
                    <a:gd name="connsiteX73" fmla="*/ 1594302 w 2492588"/>
                    <a:gd name="connsiteY73" fmla="*/ 797456 h 1985059"/>
                    <a:gd name="connsiteX74" fmla="*/ 1583094 w 2492588"/>
                    <a:gd name="connsiteY74" fmla="*/ 787605 h 1985059"/>
                    <a:gd name="connsiteX75" fmla="*/ 1571886 w 2492588"/>
                    <a:gd name="connsiteY75" fmla="*/ 779215 h 1985059"/>
                    <a:gd name="connsiteX76" fmla="*/ 1560677 w 2492588"/>
                    <a:gd name="connsiteY76" fmla="*/ 769442 h 1985059"/>
                    <a:gd name="connsiteX77" fmla="*/ 1548032 w 2492588"/>
                    <a:gd name="connsiteY77" fmla="*/ 758204 h 1985059"/>
                    <a:gd name="connsiteX78" fmla="*/ 1536824 w 2492588"/>
                    <a:gd name="connsiteY78" fmla="*/ 749814 h 1985059"/>
                    <a:gd name="connsiteX79" fmla="*/ 1525616 w 2492588"/>
                    <a:gd name="connsiteY79" fmla="*/ 739962 h 1985059"/>
                    <a:gd name="connsiteX80" fmla="*/ 1514407 w 2492588"/>
                    <a:gd name="connsiteY80" fmla="*/ 731574 h 1985059"/>
                    <a:gd name="connsiteX81" fmla="*/ 1503200 w 2492588"/>
                    <a:gd name="connsiteY81" fmla="*/ 721723 h 1985059"/>
                    <a:gd name="connsiteX82" fmla="*/ 1490554 w 2492588"/>
                    <a:gd name="connsiteY82" fmla="*/ 713333 h 1985059"/>
                    <a:gd name="connsiteX83" fmla="*/ 1454055 w 2492588"/>
                    <a:gd name="connsiteY83" fmla="*/ 686703 h 1985059"/>
                    <a:gd name="connsiteX84" fmla="*/ 1417700 w 2492588"/>
                    <a:gd name="connsiteY84" fmla="*/ 662843 h 1985059"/>
                    <a:gd name="connsiteX85" fmla="*/ 1381200 w 2492588"/>
                    <a:gd name="connsiteY85" fmla="*/ 639062 h 1985059"/>
                    <a:gd name="connsiteX86" fmla="*/ 1346139 w 2492588"/>
                    <a:gd name="connsiteY86" fmla="*/ 619435 h 1985059"/>
                    <a:gd name="connsiteX87" fmla="*/ 1309639 w 2492588"/>
                    <a:gd name="connsiteY87" fmla="*/ 598347 h 1985059"/>
                    <a:gd name="connsiteX88" fmla="*/ 1273284 w 2492588"/>
                    <a:gd name="connsiteY88" fmla="*/ 581569 h 1985059"/>
                    <a:gd name="connsiteX89" fmla="*/ 1238223 w 2492588"/>
                    <a:gd name="connsiteY89" fmla="*/ 566099 h 1985059"/>
                    <a:gd name="connsiteX90" fmla="*/ 1201723 w 2492588"/>
                    <a:gd name="connsiteY90" fmla="*/ 550706 h 1985059"/>
                    <a:gd name="connsiteX91" fmla="*/ 1165225 w 2492588"/>
                    <a:gd name="connsiteY91" fmla="*/ 538084 h 1985059"/>
                    <a:gd name="connsiteX92" fmla="*/ 1131599 w 2492588"/>
                    <a:gd name="connsiteY92" fmla="*/ 525460 h 1985059"/>
                    <a:gd name="connsiteX93" fmla="*/ 1096537 w 2492588"/>
                    <a:gd name="connsiteY93" fmla="*/ 515686 h 1985059"/>
                    <a:gd name="connsiteX94" fmla="*/ 1082711 w 2492588"/>
                    <a:gd name="connsiteY94" fmla="*/ 512913 h 1985059"/>
                    <a:gd name="connsiteX95" fmla="*/ 1082708 w 2492588"/>
                    <a:gd name="connsiteY95" fmla="*/ 512913 h 1985059"/>
                    <a:gd name="connsiteX96" fmla="*/ 1071644 w 2492588"/>
                    <a:gd name="connsiteY96" fmla="*/ 510693 h 1985059"/>
                    <a:gd name="connsiteX97" fmla="*/ 1069393 w 2492588"/>
                    <a:gd name="connsiteY97" fmla="*/ 509898 h 1985059"/>
                    <a:gd name="connsiteX98" fmla="*/ 1041317 w 2492588"/>
                    <a:gd name="connsiteY98" fmla="*/ 504008 h 1985059"/>
                    <a:gd name="connsiteX99" fmla="*/ 1020610 w 2492588"/>
                    <a:gd name="connsiteY99" fmla="*/ 498234 h 1985059"/>
                    <a:gd name="connsiteX100" fmla="*/ 986985 w 2492588"/>
                    <a:gd name="connsiteY100" fmla="*/ 491231 h 1985059"/>
                    <a:gd name="connsiteX101" fmla="*/ 971524 w 2492588"/>
                    <a:gd name="connsiteY101" fmla="*/ 489366 h 1985059"/>
                    <a:gd name="connsiteX102" fmla="*/ 958338 w 2492588"/>
                    <a:gd name="connsiteY102" fmla="*/ 486598 h 1985059"/>
                    <a:gd name="connsiteX103" fmla="*/ 942188 w 2492588"/>
                    <a:gd name="connsiteY103" fmla="*/ 485772 h 1985059"/>
                    <a:gd name="connsiteX104" fmla="*/ 918297 w 2492588"/>
                    <a:gd name="connsiteY104" fmla="*/ 482765 h 1985059"/>
                    <a:gd name="connsiteX105" fmla="*/ 885966 w 2492588"/>
                    <a:gd name="connsiteY105" fmla="*/ 481381 h 1985059"/>
                    <a:gd name="connsiteX106" fmla="*/ 875093 w 2492588"/>
                    <a:gd name="connsiteY106" fmla="*/ 480912 h 1985059"/>
                    <a:gd name="connsiteX107" fmla="*/ 846611 w 2492588"/>
                    <a:gd name="connsiteY107" fmla="*/ 482190 h 1985059"/>
                    <a:gd name="connsiteX108" fmla="*/ 814423 w 2492588"/>
                    <a:gd name="connsiteY108" fmla="*/ 485037 h 1985059"/>
                    <a:gd name="connsiteX109" fmla="*/ 784965 w 2492588"/>
                    <a:gd name="connsiteY109" fmla="*/ 490656 h 1985059"/>
                    <a:gd name="connsiteX110" fmla="*/ 757200 w 2492588"/>
                    <a:gd name="connsiteY110" fmla="*/ 495879 h 1985059"/>
                    <a:gd name="connsiteX111" fmla="*/ 755929 w 2492588"/>
                    <a:gd name="connsiteY111" fmla="*/ 496040 h 1985059"/>
                    <a:gd name="connsiteX112" fmla="*/ 754975 w 2492588"/>
                    <a:gd name="connsiteY112" fmla="*/ 496366 h 1985059"/>
                    <a:gd name="connsiteX113" fmla="*/ 752198 w 2492588"/>
                    <a:gd name="connsiteY113" fmla="*/ 497252 h 1985059"/>
                    <a:gd name="connsiteX114" fmla="*/ 748795 w 2492588"/>
                    <a:gd name="connsiteY114" fmla="*/ 492187 h 1985059"/>
                    <a:gd name="connsiteX115" fmla="*/ 733472 w 2492588"/>
                    <a:gd name="connsiteY115" fmla="*/ 495069 h 1985059"/>
                    <a:gd name="connsiteX116" fmla="*/ 732201 w 2492588"/>
                    <a:gd name="connsiteY116" fmla="*/ 495230 h 1985059"/>
                    <a:gd name="connsiteX117" fmla="*/ 731247 w 2492588"/>
                    <a:gd name="connsiteY117" fmla="*/ 495557 h 1985059"/>
                    <a:gd name="connsiteX118" fmla="*/ 705195 w 2492588"/>
                    <a:gd name="connsiteY118" fmla="*/ 503853 h 1985059"/>
                    <a:gd name="connsiteX119" fmla="*/ 688240 w 2492588"/>
                    <a:gd name="connsiteY119" fmla="*/ 509768 h 1985059"/>
                    <a:gd name="connsiteX120" fmla="*/ 675699 w 2492588"/>
                    <a:gd name="connsiteY120" fmla="*/ 515340 h 1985059"/>
                    <a:gd name="connsiteX121" fmla="*/ 649115 w 2492588"/>
                    <a:gd name="connsiteY121" fmla="*/ 530732 h 1985059"/>
                    <a:gd name="connsiteX122" fmla="*/ 625261 w 2492588"/>
                    <a:gd name="connsiteY122" fmla="*/ 546203 h 1985059"/>
                    <a:gd name="connsiteX123" fmla="*/ 602845 w 2492588"/>
                    <a:gd name="connsiteY123" fmla="*/ 562981 h 1985059"/>
                    <a:gd name="connsiteX124" fmla="*/ 581722 w 2492588"/>
                    <a:gd name="connsiteY124" fmla="*/ 583992 h 1985059"/>
                    <a:gd name="connsiteX125" fmla="*/ 499507 w 2492588"/>
                    <a:gd name="connsiteY125" fmla="*/ 670076 h 1985059"/>
                    <a:gd name="connsiteX126" fmla="*/ 490861 w 2492588"/>
                    <a:gd name="connsiteY126" fmla="*/ 663718 h 1985059"/>
                    <a:gd name="connsiteX127" fmla="*/ 475692 w 2492588"/>
                    <a:gd name="connsiteY127" fmla="*/ 679601 h 1985059"/>
                    <a:gd name="connsiteX128" fmla="*/ 403000 w 2492588"/>
                    <a:gd name="connsiteY128" fmla="*/ 626145 h 1985059"/>
                    <a:gd name="connsiteX129" fmla="*/ 0 w 2492588"/>
                    <a:gd name="connsiteY129" fmla="*/ 329779 h 1985059"/>
                    <a:gd name="connsiteX130" fmla="*/ 54665 w 2492588"/>
                    <a:gd name="connsiteY130" fmla="*/ 246335 h 1985059"/>
                    <a:gd name="connsiteX131" fmla="*/ 120836 w 2492588"/>
                    <a:gd name="connsiteY131" fmla="*/ 175837 h 1985059"/>
                    <a:gd name="connsiteX132" fmla="*/ 234478 w 2492588"/>
                    <a:gd name="connsiteY132" fmla="*/ 93831 h 1985059"/>
                    <a:gd name="connsiteX133" fmla="*/ 363943 w 2492588"/>
                    <a:gd name="connsiteY133" fmla="*/ 40599 h 1985059"/>
                    <a:gd name="connsiteX134" fmla="*/ 365149 w 2492588"/>
                    <a:gd name="connsiteY134" fmla="*/ 40370 h 1985059"/>
                    <a:gd name="connsiteX135" fmla="*/ 387758 w 2492588"/>
                    <a:gd name="connsiteY135" fmla="*/ 31074 h 1985059"/>
                    <a:gd name="connsiteX136" fmla="*/ 531609 w 2492588"/>
                    <a:gd name="connsiteY136" fmla="*/ 3738 h 1985059"/>
                    <a:gd name="connsiteX137" fmla="*/ 686968 w 2492588"/>
                    <a:gd name="connsiteY137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7896 w 2494555"/>
                    <a:gd name="connsiteY111" fmla="*/ 496040 h 1985059"/>
                    <a:gd name="connsiteX112" fmla="*/ 756942 w 2494555"/>
                    <a:gd name="connsiteY112" fmla="*/ 496366 h 1985059"/>
                    <a:gd name="connsiteX113" fmla="*/ 754165 w 2494555"/>
                    <a:gd name="connsiteY113" fmla="*/ 497252 h 1985059"/>
                    <a:gd name="connsiteX114" fmla="*/ 750762 w 2494555"/>
                    <a:gd name="connsiteY114" fmla="*/ 492187 h 1985059"/>
                    <a:gd name="connsiteX115" fmla="*/ 735439 w 2494555"/>
                    <a:gd name="connsiteY115" fmla="*/ 495069 h 1985059"/>
                    <a:gd name="connsiteX116" fmla="*/ 734168 w 2494555"/>
                    <a:gd name="connsiteY116" fmla="*/ 495230 h 1985059"/>
                    <a:gd name="connsiteX117" fmla="*/ 733214 w 2494555"/>
                    <a:gd name="connsiteY117" fmla="*/ 495557 h 1985059"/>
                    <a:gd name="connsiteX118" fmla="*/ 707162 w 2494555"/>
                    <a:gd name="connsiteY118" fmla="*/ 503853 h 1985059"/>
                    <a:gd name="connsiteX119" fmla="*/ 690207 w 2494555"/>
                    <a:gd name="connsiteY119" fmla="*/ 509768 h 1985059"/>
                    <a:gd name="connsiteX120" fmla="*/ 677666 w 2494555"/>
                    <a:gd name="connsiteY120" fmla="*/ 515340 h 1985059"/>
                    <a:gd name="connsiteX121" fmla="*/ 651082 w 2494555"/>
                    <a:gd name="connsiteY121" fmla="*/ 530732 h 1985059"/>
                    <a:gd name="connsiteX122" fmla="*/ 627228 w 2494555"/>
                    <a:gd name="connsiteY122" fmla="*/ 546203 h 1985059"/>
                    <a:gd name="connsiteX123" fmla="*/ 604812 w 2494555"/>
                    <a:gd name="connsiteY123" fmla="*/ 562981 h 1985059"/>
                    <a:gd name="connsiteX124" fmla="*/ 583689 w 2494555"/>
                    <a:gd name="connsiteY124" fmla="*/ 583992 h 1985059"/>
                    <a:gd name="connsiteX125" fmla="*/ 501474 w 2494555"/>
                    <a:gd name="connsiteY125" fmla="*/ 670076 h 1985059"/>
                    <a:gd name="connsiteX126" fmla="*/ 492828 w 2494555"/>
                    <a:gd name="connsiteY126" fmla="*/ 663718 h 1985059"/>
                    <a:gd name="connsiteX127" fmla="*/ 477659 w 2494555"/>
                    <a:gd name="connsiteY127" fmla="*/ 679601 h 1985059"/>
                    <a:gd name="connsiteX128" fmla="*/ 404967 w 2494555"/>
                    <a:gd name="connsiteY128" fmla="*/ 626145 h 1985059"/>
                    <a:gd name="connsiteX129" fmla="*/ 0 w 2494555"/>
                    <a:gd name="connsiteY129" fmla="*/ 323877 h 1985059"/>
                    <a:gd name="connsiteX130" fmla="*/ 56632 w 2494555"/>
                    <a:gd name="connsiteY130" fmla="*/ 246335 h 1985059"/>
                    <a:gd name="connsiteX131" fmla="*/ 122803 w 2494555"/>
                    <a:gd name="connsiteY131" fmla="*/ 175837 h 1985059"/>
                    <a:gd name="connsiteX132" fmla="*/ 236445 w 2494555"/>
                    <a:gd name="connsiteY132" fmla="*/ 93831 h 1985059"/>
                    <a:gd name="connsiteX133" fmla="*/ 365910 w 2494555"/>
                    <a:gd name="connsiteY133" fmla="*/ 40599 h 1985059"/>
                    <a:gd name="connsiteX134" fmla="*/ 367116 w 2494555"/>
                    <a:gd name="connsiteY134" fmla="*/ 40370 h 1985059"/>
                    <a:gd name="connsiteX135" fmla="*/ 389725 w 2494555"/>
                    <a:gd name="connsiteY135" fmla="*/ 31074 h 1985059"/>
                    <a:gd name="connsiteX136" fmla="*/ 533576 w 2494555"/>
                    <a:gd name="connsiteY136" fmla="*/ 3738 h 1985059"/>
                    <a:gd name="connsiteX137" fmla="*/ 688935 w 2494555"/>
                    <a:gd name="connsiteY137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7896 w 2494555"/>
                    <a:gd name="connsiteY111" fmla="*/ 496040 h 1985059"/>
                    <a:gd name="connsiteX112" fmla="*/ 756942 w 2494555"/>
                    <a:gd name="connsiteY112" fmla="*/ 496366 h 1985059"/>
                    <a:gd name="connsiteX113" fmla="*/ 750762 w 2494555"/>
                    <a:gd name="connsiteY113" fmla="*/ 492187 h 1985059"/>
                    <a:gd name="connsiteX114" fmla="*/ 735439 w 2494555"/>
                    <a:gd name="connsiteY114" fmla="*/ 495069 h 1985059"/>
                    <a:gd name="connsiteX115" fmla="*/ 734168 w 2494555"/>
                    <a:gd name="connsiteY115" fmla="*/ 495230 h 1985059"/>
                    <a:gd name="connsiteX116" fmla="*/ 733214 w 2494555"/>
                    <a:gd name="connsiteY116" fmla="*/ 495557 h 1985059"/>
                    <a:gd name="connsiteX117" fmla="*/ 707162 w 2494555"/>
                    <a:gd name="connsiteY117" fmla="*/ 503853 h 1985059"/>
                    <a:gd name="connsiteX118" fmla="*/ 690207 w 2494555"/>
                    <a:gd name="connsiteY118" fmla="*/ 509768 h 1985059"/>
                    <a:gd name="connsiteX119" fmla="*/ 677666 w 2494555"/>
                    <a:gd name="connsiteY119" fmla="*/ 515340 h 1985059"/>
                    <a:gd name="connsiteX120" fmla="*/ 651082 w 2494555"/>
                    <a:gd name="connsiteY120" fmla="*/ 530732 h 1985059"/>
                    <a:gd name="connsiteX121" fmla="*/ 627228 w 2494555"/>
                    <a:gd name="connsiteY121" fmla="*/ 546203 h 1985059"/>
                    <a:gd name="connsiteX122" fmla="*/ 604812 w 2494555"/>
                    <a:gd name="connsiteY122" fmla="*/ 562981 h 1985059"/>
                    <a:gd name="connsiteX123" fmla="*/ 583689 w 2494555"/>
                    <a:gd name="connsiteY123" fmla="*/ 583992 h 1985059"/>
                    <a:gd name="connsiteX124" fmla="*/ 501474 w 2494555"/>
                    <a:gd name="connsiteY124" fmla="*/ 670076 h 1985059"/>
                    <a:gd name="connsiteX125" fmla="*/ 492828 w 2494555"/>
                    <a:gd name="connsiteY125" fmla="*/ 663718 h 1985059"/>
                    <a:gd name="connsiteX126" fmla="*/ 477659 w 2494555"/>
                    <a:gd name="connsiteY126" fmla="*/ 679601 h 1985059"/>
                    <a:gd name="connsiteX127" fmla="*/ 404967 w 2494555"/>
                    <a:gd name="connsiteY127" fmla="*/ 626145 h 1985059"/>
                    <a:gd name="connsiteX128" fmla="*/ 0 w 2494555"/>
                    <a:gd name="connsiteY128" fmla="*/ 323877 h 1985059"/>
                    <a:gd name="connsiteX129" fmla="*/ 56632 w 2494555"/>
                    <a:gd name="connsiteY129" fmla="*/ 246335 h 1985059"/>
                    <a:gd name="connsiteX130" fmla="*/ 122803 w 2494555"/>
                    <a:gd name="connsiteY130" fmla="*/ 175837 h 1985059"/>
                    <a:gd name="connsiteX131" fmla="*/ 236445 w 2494555"/>
                    <a:gd name="connsiteY131" fmla="*/ 93831 h 1985059"/>
                    <a:gd name="connsiteX132" fmla="*/ 365910 w 2494555"/>
                    <a:gd name="connsiteY132" fmla="*/ 40599 h 1985059"/>
                    <a:gd name="connsiteX133" fmla="*/ 367116 w 2494555"/>
                    <a:gd name="connsiteY133" fmla="*/ 40370 h 1985059"/>
                    <a:gd name="connsiteX134" fmla="*/ 389725 w 2494555"/>
                    <a:gd name="connsiteY134" fmla="*/ 31074 h 1985059"/>
                    <a:gd name="connsiteX135" fmla="*/ 533576 w 2494555"/>
                    <a:gd name="connsiteY135" fmla="*/ 3738 h 1985059"/>
                    <a:gd name="connsiteX136" fmla="*/ 688935 w 2494555"/>
                    <a:gd name="connsiteY136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7896 w 2494555"/>
                    <a:gd name="connsiteY111" fmla="*/ 496040 h 1985059"/>
                    <a:gd name="connsiteX112" fmla="*/ 750762 w 2494555"/>
                    <a:gd name="connsiteY112" fmla="*/ 492187 h 1985059"/>
                    <a:gd name="connsiteX113" fmla="*/ 735439 w 2494555"/>
                    <a:gd name="connsiteY113" fmla="*/ 495069 h 1985059"/>
                    <a:gd name="connsiteX114" fmla="*/ 734168 w 2494555"/>
                    <a:gd name="connsiteY114" fmla="*/ 495230 h 1985059"/>
                    <a:gd name="connsiteX115" fmla="*/ 733214 w 2494555"/>
                    <a:gd name="connsiteY115" fmla="*/ 495557 h 1985059"/>
                    <a:gd name="connsiteX116" fmla="*/ 707162 w 2494555"/>
                    <a:gd name="connsiteY116" fmla="*/ 503853 h 1985059"/>
                    <a:gd name="connsiteX117" fmla="*/ 690207 w 2494555"/>
                    <a:gd name="connsiteY117" fmla="*/ 509768 h 1985059"/>
                    <a:gd name="connsiteX118" fmla="*/ 677666 w 2494555"/>
                    <a:gd name="connsiteY118" fmla="*/ 515340 h 1985059"/>
                    <a:gd name="connsiteX119" fmla="*/ 651082 w 2494555"/>
                    <a:gd name="connsiteY119" fmla="*/ 530732 h 1985059"/>
                    <a:gd name="connsiteX120" fmla="*/ 627228 w 2494555"/>
                    <a:gd name="connsiteY120" fmla="*/ 546203 h 1985059"/>
                    <a:gd name="connsiteX121" fmla="*/ 604812 w 2494555"/>
                    <a:gd name="connsiteY121" fmla="*/ 562981 h 1985059"/>
                    <a:gd name="connsiteX122" fmla="*/ 583689 w 2494555"/>
                    <a:gd name="connsiteY122" fmla="*/ 583992 h 1985059"/>
                    <a:gd name="connsiteX123" fmla="*/ 501474 w 2494555"/>
                    <a:gd name="connsiteY123" fmla="*/ 670076 h 1985059"/>
                    <a:gd name="connsiteX124" fmla="*/ 492828 w 2494555"/>
                    <a:gd name="connsiteY124" fmla="*/ 663718 h 1985059"/>
                    <a:gd name="connsiteX125" fmla="*/ 477659 w 2494555"/>
                    <a:gd name="connsiteY125" fmla="*/ 679601 h 1985059"/>
                    <a:gd name="connsiteX126" fmla="*/ 404967 w 2494555"/>
                    <a:gd name="connsiteY126" fmla="*/ 626145 h 1985059"/>
                    <a:gd name="connsiteX127" fmla="*/ 0 w 2494555"/>
                    <a:gd name="connsiteY127" fmla="*/ 323877 h 1985059"/>
                    <a:gd name="connsiteX128" fmla="*/ 56632 w 2494555"/>
                    <a:gd name="connsiteY128" fmla="*/ 246335 h 1985059"/>
                    <a:gd name="connsiteX129" fmla="*/ 122803 w 2494555"/>
                    <a:gd name="connsiteY129" fmla="*/ 175837 h 1985059"/>
                    <a:gd name="connsiteX130" fmla="*/ 236445 w 2494555"/>
                    <a:gd name="connsiteY130" fmla="*/ 93831 h 1985059"/>
                    <a:gd name="connsiteX131" fmla="*/ 365910 w 2494555"/>
                    <a:gd name="connsiteY131" fmla="*/ 40599 h 1985059"/>
                    <a:gd name="connsiteX132" fmla="*/ 367116 w 2494555"/>
                    <a:gd name="connsiteY132" fmla="*/ 40370 h 1985059"/>
                    <a:gd name="connsiteX133" fmla="*/ 389725 w 2494555"/>
                    <a:gd name="connsiteY133" fmla="*/ 31074 h 1985059"/>
                    <a:gd name="connsiteX134" fmla="*/ 533576 w 2494555"/>
                    <a:gd name="connsiteY134" fmla="*/ 3738 h 1985059"/>
                    <a:gd name="connsiteX135" fmla="*/ 688935 w 2494555"/>
                    <a:gd name="connsiteY135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9167 w 2494555"/>
                    <a:gd name="connsiteY110" fmla="*/ 495879 h 1985059"/>
                    <a:gd name="connsiteX111" fmla="*/ 750762 w 2494555"/>
                    <a:gd name="connsiteY111" fmla="*/ 492187 h 1985059"/>
                    <a:gd name="connsiteX112" fmla="*/ 735439 w 2494555"/>
                    <a:gd name="connsiteY112" fmla="*/ 495069 h 1985059"/>
                    <a:gd name="connsiteX113" fmla="*/ 734168 w 2494555"/>
                    <a:gd name="connsiteY113" fmla="*/ 495230 h 1985059"/>
                    <a:gd name="connsiteX114" fmla="*/ 733214 w 2494555"/>
                    <a:gd name="connsiteY114" fmla="*/ 495557 h 1985059"/>
                    <a:gd name="connsiteX115" fmla="*/ 707162 w 2494555"/>
                    <a:gd name="connsiteY115" fmla="*/ 503853 h 1985059"/>
                    <a:gd name="connsiteX116" fmla="*/ 690207 w 2494555"/>
                    <a:gd name="connsiteY116" fmla="*/ 509768 h 1985059"/>
                    <a:gd name="connsiteX117" fmla="*/ 677666 w 2494555"/>
                    <a:gd name="connsiteY117" fmla="*/ 515340 h 1985059"/>
                    <a:gd name="connsiteX118" fmla="*/ 651082 w 2494555"/>
                    <a:gd name="connsiteY118" fmla="*/ 530732 h 1985059"/>
                    <a:gd name="connsiteX119" fmla="*/ 627228 w 2494555"/>
                    <a:gd name="connsiteY119" fmla="*/ 546203 h 1985059"/>
                    <a:gd name="connsiteX120" fmla="*/ 604812 w 2494555"/>
                    <a:gd name="connsiteY120" fmla="*/ 562981 h 1985059"/>
                    <a:gd name="connsiteX121" fmla="*/ 583689 w 2494555"/>
                    <a:gd name="connsiteY121" fmla="*/ 583992 h 1985059"/>
                    <a:gd name="connsiteX122" fmla="*/ 501474 w 2494555"/>
                    <a:gd name="connsiteY122" fmla="*/ 670076 h 1985059"/>
                    <a:gd name="connsiteX123" fmla="*/ 492828 w 2494555"/>
                    <a:gd name="connsiteY123" fmla="*/ 663718 h 1985059"/>
                    <a:gd name="connsiteX124" fmla="*/ 477659 w 2494555"/>
                    <a:gd name="connsiteY124" fmla="*/ 679601 h 1985059"/>
                    <a:gd name="connsiteX125" fmla="*/ 404967 w 2494555"/>
                    <a:gd name="connsiteY125" fmla="*/ 626145 h 1985059"/>
                    <a:gd name="connsiteX126" fmla="*/ 0 w 2494555"/>
                    <a:gd name="connsiteY126" fmla="*/ 323877 h 1985059"/>
                    <a:gd name="connsiteX127" fmla="*/ 56632 w 2494555"/>
                    <a:gd name="connsiteY127" fmla="*/ 246335 h 1985059"/>
                    <a:gd name="connsiteX128" fmla="*/ 122803 w 2494555"/>
                    <a:gd name="connsiteY128" fmla="*/ 175837 h 1985059"/>
                    <a:gd name="connsiteX129" fmla="*/ 236445 w 2494555"/>
                    <a:gd name="connsiteY129" fmla="*/ 93831 h 1985059"/>
                    <a:gd name="connsiteX130" fmla="*/ 365910 w 2494555"/>
                    <a:gd name="connsiteY130" fmla="*/ 40599 h 1985059"/>
                    <a:gd name="connsiteX131" fmla="*/ 367116 w 2494555"/>
                    <a:gd name="connsiteY131" fmla="*/ 40370 h 1985059"/>
                    <a:gd name="connsiteX132" fmla="*/ 389725 w 2494555"/>
                    <a:gd name="connsiteY132" fmla="*/ 31074 h 1985059"/>
                    <a:gd name="connsiteX133" fmla="*/ 533576 w 2494555"/>
                    <a:gd name="connsiteY133" fmla="*/ 3738 h 1985059"/>
                    <a:gd name="connsiteX134" fmla="*/ 688935 w 2494555"/>
                    <a:gd name="connsiteY134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86932 w 2494555"/>
                    <a:gd name="connsiteY109" fmla="*/ 490656 h 1985059"/>
                    <a:gd name="connsiteX110" fmla="*/ 750762 w 2494555"/>
                    <a:gd name="connsiteY110" fmla="*/ 492187 h 1985059"/>
                    <a:gd name="connsiteX111" fmla="*/ 735439 w 2494555"/>
                    <a:gd name="connsiteY111" fmla="*/ 495069 h 1985059"/>
                    <a:gd name="connsiteX112" fmla="*/ 734168 w 2494555"/>
                    <a:gd name="connsiteY112" fmla="*/ 495230 h 1985059"/>
                    <a:gd name="connsiteX113" fmla="*/ 733214 w 2494555"/>
                    <a:gd name="connsiteY113" fmla="*/ 495557 h 1985059"/>
                    <a:gd name="connsiteX114" fmla="*/ 707162 w 2494555"/>
                    <a:gd name="connsiteY114" fmla="*/ 503853 h 1985059"/>
                    <a:gd name="connsiteX115" fmla="*/ 690207 w 2494555"/>
                    <a:gd name="connsiteY115" fmla="*/ 509768 h 1985059"/>
                    <a:gd name="connsiteX116" fmla="*/ 677666 w 2494555"/>
                    <a:gd name="connsiteY116" fmla="*/ 515340 h 1985059"/>
                    <a:gd name="connsiteX117" fmla="*/ 651082 w 2494555"/>
                    <a:gd name="connsiteY117" fmla="*/ 530732 h 1985059"/>
                    <a:gd name="connsiteX118" fmla="*/ 627228 w 2494555"/>
                    <a:gd name="connsiteY118" fmla="*/ 546203 h 1985059"/>
                    <a:gd name="connsiteX119" fmla="*/ 604812 w 2494555"/>
                    <a:gd name="connsiteY119" fmla="*/ 562981 h 1985059"/>
                    <a:gd name="connsiteX120" fmla="*/ 583689 w 2494555"/>
                    <a:gd name="connsiteY120" fmla="*/ 583992 h 1985059"/>
                    <a:gd name="connsiteX121" fmla="*/ 501474 w 2494555"/>
                    <a:gd name="connsiteY121" fmla="*/ 670076 h 1985059"/>
                    <a:gd name="connsiteX122" fmla="*/ 492828 w 2494555"/>
                    <a:gd name="connsiteY122" fmla="*/ 663718 h 1985059"/>
                    <a:gd name="connsiteX123" fmla="*/ 477659 w 2494555"/>
                    <a:gd name="connsiteY123" fmla="*/ 679601 h 1985059"/>
                    <a:gd name="connsiteX124" fmla="*/ 404967 w 2494555"/>
                    <a:gd name="connsiteY124" fmla="*/ 626145 h 1985059"/>
                    <a:gd name="connsiteX125" fmla="*/ 0 w 2494555"/>
                    <a:gd name="connsiteY125" fmla="*/ 323877 h 1985059"/>
                    <a:gd name="connsiteX126" fmla="*/ 56632 w 2494555"/>
                    <a:gd name="connsiteY126" fmla="*/ 246335 h 1985059"/>
                    <a:gd name="connsiteX127" fmla="*/ 122803 w 2494555"/>
                    <a:gd name="connsiteY127" fmla="*/ 175837 h 1985059"/>
                    <a:gd name="connsiteX128" fmla="*/ 236445 w 2494555"/>
                    <a:gd name="connsiteY128" fmla="*/ 93831 h 1985059"/>
                    <a:gd name="connsiteX129" fmla="*/ 365910 w 2494555"/>
                    <a:gd name="connsiteY129" fmla="*/ 40599 h 1985059"/>
                    <a:gd name="connsiteX130" fmla="*/ 367116 w 2494555"/>
                    <a:gd name="connsiteY130" fmla="*/ 40370 h 1985059"/>
                    <a:gd name="connsiteX131" fmla="*/ 389725 w 2494555"/>
                    <a:gd name="connsiteY131" fmla="*/ 31074 h 1985059"/>
                    <a:gd name="connsiteX132" fmla="*/ 533576 w 2494555"/>
                    <a:gd name="connsiteY132" fmla="*/ 3738 h 1985059"/>
                    <a:gd name="connsiteX133" fmla="*/ 688935 w 2494555"/>
                    <a:gd name="connsiteY133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501474 w 2494555"/>
                    <a:gd name="connsiteY120" fmla="*/ 670076 h 1985059"/>
                    <a:gd name="connsiteX121" fmla="*/ 492828 w 2494555"/>
                    <a:gd name="connsiteY121" fmla="*/ 663718 h 1985059"/>
                    <a:gd name="connsiteX122" fmla="*/ 477659 w 2494555"/>
                    <a:gd name="connsiteY122" fmla="*/ 679601 h 1985059"/>
                    <a:gd name="connsiteX123" fmla="*/ 404967 w 2494555"/>
                    <a:gd name="connsiteY123" fmla="*/ 626145 h 1985059"/>
                    <a:gd name="connsiteX124" fmla="*/ 0 w 2494555"/>
                    <a:gd name="connsiteY124" fmla="*/ 323877 h 1985059"/>
                    <a:gd name="connsiteX125" fmla="*/ 56632 w 2494555"/>
                    <a:gd name="connsiteY125" fmla="*/ 246335 h 1985059"/>
                    <a:gd name="connsiteX126" fmla="*/ 122803 w 2494555"/>
                    <a:gd name="connsiteY126" fmla="*/ 175837 h 1985059"/>
                    <a:gd name="connsiteX127" fmla="*/ 236445 w 2494555"/>
                    <a:gd name="connsiteY127" fmla="*/ 93831 h 1985059"/>
                    <a:gd name="connsiteX128" fmla="*/ 365910 w 2494555"/>
                    <a:gd name="connsiteY128" fmla="*/ 40599 h 1985059"/>
                    <a:gd name="connsiteX129" fmla="*/ 367116 w 2494555"/>
                    <a:gd name="connsiteY129" fmla="*/ 40370 h 1985059"/>
                    <a:gd name="connsiteX130" fmla="*/ 389725 w 2494555"/>
                    <a:gd name="connsiteY130" fmla="*/ 31074 h 1985059"/>
                    <a:gd name="connsiteX131" fmla="*/ 533576 w 2494555"/>
                    <a:gd name="connsiteY131" fmla="*/ 3738 h 1985059"/>
                    <a:gd name="connsiteX132" fmla="*/ 688935 w 2494555"/>
                    <a:gd name="connsiteY132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501474 w 2494555"/>
                    <a:gd name="connsiteY120" fmla="*/ 670076 h 1985059"/>
                    <a:gd name="connsiteX121" fmla="*/ 488401 w 2494555"/>
                    <a:gd name="connsiteY121" fmla="*/ 693231 h 1985059"/>
                    <a:gd name="connsiteX122" fmla="*/ 477659 w 2494555"/>
                    <a:gd name="connsiteY122" fmla="*/ 679601 h 1985059"/>
                    <a:gd name="connsiteX123" fmla="*/ 404967 w 2494555"/>
                    <a:gd name="connsiteY123" fmla="*/ 626145 h 1985059"/>
                    <a:gd name="connsiteX124" fmla="*/ 0 w 2494555"/>
                    <a:gd name="connsiteY124" fmla="*/ 323877 h 1985059"/>
                    <a:gd name="connsiteX125" fmla="*/ 56632 w 2494555"/>
                    <a:gd name="connsiteY125" fmla="*/ 246335 h 1985059"/>
                    <a:gd name="connsiteX126" fmla="*/ 122803 w 2494555"/>
                    <a:gd name="connsiteY126" fmla="*/ 175837 h 1985059"/>
                    <a:gd name="connsiteX127" fmla="*/ 236445 w 2494555"/>
                    <a:gd name="connsiteY127" fmla="*/ 93831 h 1985059"/>
                    <a:gd name="connsiteX128" fmla="*/ 365910 w 2494555"/>
                    <a:gd name="connsiteY128" fmla="*/ 40599 h 1985059"/>
                    <a:gd name="connsiteX129" fmla="*/ 367116 w 2494555"/>
                    <a:gd name="connsiteY129" fmla="*/ 40370 h 1985059"/>
                    <a:gd name="connsiteX130" fmla="*/ 389725 w 2494555"/>
                    <a:gd name="connsiteY130" fmla="*/ 31074 h 1985059"/>
                    <a:gd name="connsiteX131" fmla="*/ 533576 w 2494555"/>
                    <a:gd name="connsiteY131" fmla="*/ 3738 h 1985059"/>
                    <a:gd name="connsiteX132" fmla="*/ 688935 w 2494555"/>
                    <a:gd name="connsiteY132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488401 w 2494555"/>
                    <a:gd name="connsiteY120" fmla="*/ 693231 h 1985059"/>
                    <a:gd name="connsiteX121" fmla="*/ 477659 w 2494555"/>
                    <a:gd name="connsiteY121" fmla="*/ 679601 h 1985059"/>
                    <a:gd name="connsiteX122" fmla="*/ 404967 w 2494555"/>
                    <a:gd name="connsiteY122" fmla="*/ 626145 h 1985059"/>
                    <a:gd name="connsiteX123" fmla="*/ 0 w 2494555"/>
                    <a:gd name="connsiteY123" fmla="*/ 323877 h 1985059"/>
                    <a:gd name="connsiteX124" fmla="*/ 56632 w 2494555"/>
                    <a:gd name="connsiteY124" fmla="*/ 246335 h 1985059"/>
                    <a:gd name="connsiteX125" fmla="*/ 122803 w 2494555"/>
                    <a:gd name="connsiteY125" fmla="*/ 175837 h 1985059"/>
                    <a:gd name="connsiteX126" fmla="*/ 236445 w 2494555"/>
                    <a:gd name="connsiteY126" fmla="*/ 93831 h 1985059"/>
                    <a:gd name="connsiteX127" fmla="*/ 365910 w 2494555"/>
                    <a:gd name="connsiteY127" fmla="*/ 40599 h 1985059"/>
                    <a:gd name="connsiteX128" fmla="*/ 367116 w 2494555"/>
                    <a:gd name="connsiteY128" fmla="*/ 40370 h 1985059"/>
                    <a:gd name="connsiteX129" fmla="*/ 389725 w 2494555"/>
                    <a:gd name="connsiteY129" fmla="*/ 31074 h 1985059"/>
                    <a:gd name="connsiteX130" fmla="*/ 533576 w 2494555"/>
                    <a:gd name="connsiteY130" fmla="*/ 3738 h 1985059"/>
                    <a:gd name="connsiteX131" fmla="*/ 688935 w 2494555"/>
                    <a:gd name="connsiteY131" fmla="*/ 861 h 1985059"/>
                    <a:gd name="connsiteX0" fmla="*/ 688935 w 2494555"/>
                    <a:gd name="connsiteY0" fmla="*/ 861 h 1985059"/>
                    <a:gd name="connsiteX1" fmla="*/ 850047 w 2494555"/>
                    <a:gd name="connsiteY1" fmla="*/ 22441 h 1985059"/>
                    <a:gd name="connsiteX2" fmla="*/ 1131995 w 2494555"/>
                    <a:gd name="connsiteY2" fmla="*/ 110202 h 1985059"/>
                    <a:gd name="connsiteX3" fmla="*/ 1304615 w 2494555"/>
                    <a:gd name="connsiteY3" fmla="*/ 193647 h 1985059"/>
                    <a:gd name="connsiteX4" fmla="*/ 1592316 w 2494555"/>
                    <a:gd name="connsiteY4" fmla="*/ 380680 h 1985059"/>
                    <a:gd name="connsiteX5" fmla="*/ 2002964 w 2494555"/>
                    <a:gd name="connsiteY5" fmla="*/ 776617 h 1985059"/>
                    <a:gd name="connsiteX6" fmla="*/ 2150331 w 2494555"/>
                    <a:gd name="connsiteY6" fmla="*/ 978797 h 1985059"/>
                    <a:gd name="connsiteX7" fmla="*/ 2494412 w 2494555"/>
                    <a:gd name="connsiteY7" fmla="*/ 1974724 h 1985059"/>
                    <a:gd name="connsiteX8" fmla="*/ 2493938 w 2494555"/>
                    <a:gd name="connsiteY8" fmla="*/ 1974439 h 1985059"/>
                    <a:gd name="connsiteX9" fmla="*/ 2494324 w 2494555"/>
                    <a:gd name="connsiteY9" fmla="*/ 1985059 h 1985059"/>
                    <a:gd name="connsiteX10" fmla="*/ 2481297 w 2494555"/>
                    <a:gd name="connsiteY10" fmla="*/ 1977229 h 1985059"/>
                    <a:gd name="connsiteX11" fmla="*/ 2470097 w 2494555"/>
                    <a:gd name="connsiteY11" fmla="*/ 1970497 h 1985059"/>
                    <a:gd name="connsiteX12" fmla="*/ 2470597 w 2494555"/>
                    <a:gd name="connsiteY12" fmla="*/ 1984249 h 1985059"/>
                    <a:gd name="connsiteX13" fmla="*/ 2101830 w 2494555"/>
                    <a:gd name="connsiteY13" fmla="*/ 1762610 h 1985059"/>
                    <a:gd name="connsiteX14" fmla="*/ 2026308 w 2494555"/>
                    <a:gd name="connsiteY14" fmla="*/ 1717219 h 1985059"/>
                    <a:gd name="connsiteX15" fmla="*/ 2067454 w 2494555"/>
                    <a:gd name="connsiteY15" fmla="*/ 1683261 h 1985059"/>
                    <a:gd name="connsiteX16" fmla="*/ 2067653 w 2494555"/>
                    <a:gd name="connsiteY16" fmla="*/ 1681963 h 1985059"/>
                    <a:gd name="connsiteX17" fmla="*/ 2042053 w 2494555"/>
                    <a:gd name="connsiteY17" fmla="*/ 1703090 h 1985059"/>
                    <a:gd name="connsiteX18" fmla="*/ 2044857 w 2494555"/>
                    <a:gd name="connsiteY18" fmla="*/ 1684867 h 1985059"/>
                    <a:gd name="connsiteX19" fmla="*/ 2044857 w 2494555"/>
                    <a:gd name="connsiteY19" fmla="*/ 1666640 h 1985059"/>
                    <a:gd name="connsiteX20" fmla="*/ 2044857 w 2494555"/>
                    <a:gd name="connsiteY20" fmla="*/ 1649818 h 1985059"/>
                    <a:gd name="connsiteX21" fmla="*/ 2042053 w 2494555"/>
                    <a:gd name="connsiteY21" fmla="*/ 1630190 h 1985059"/>
                    <a:gd name="connsiteX22" fmla="*/ 2042053 w 2494555"/>
                    <a:gd name="connsiteY22" fmla="*/ 1611966 h 1985059"/>
                    <a:gd name="connsiteX23" fmla="*/ 2040651 w 2494555"/>
                    <a:gd name="connsiteY23" fmla="*/ 1593741 h 1985059"/>
                    <a:gd name="connsiteX24" fmla="*/ 2037847 w 2494555"/>
                    <a:gd name="connsiteY24" fmla="*/ 1574114 h 1985059"/>
                    <a:gd name="connsiteX25" fmla="*/ 2036445 w 2494555"/>
                    <a:gd name="connsiteY25" fmla="*/ 1555890 h 1985059"/>
                    <a:gd name="connsiteX26" fmla="*/ 2033641 w 2494555"/>
                    <a:gd name="connsiteY26" fmla="*/ 1537665 h 1985059"/>
                    <a:gd name="connsiteX27" fmla="*/ 2030838 w 2494555"/>
                    <a:gd name="connsiteY27" fmla="*/ 1518039 h 1985059"/>
                    <a:gd name="connsiteX28" fmla="*/ 2026632 w 2494555"/>
                    <a:gd name="connsiteY28" fmla="*/ 1499812 h 1985059"/>
                    <a:gd name="connsiteX29" fmla="*/ 2022426 w 2494555"/>
                    <a:gd name="connsiteY29" fmla="*/ 1481588 h 1985059"/>
                    <a:gd name="connsiteX30" fmla="*/ 2018220 w 2494555"/>
                    <a:gd name="connsiteY30" fmla="*/ 1461961 h 1985059"/>
                    <a:gd name="connsiteX31" fmla="*/ 2012613 w 2494555"/>
                    <a:gd name="connsiteY31" fmla="*/ 1442335 h 1985059"/>
                    <a:gd name="connsiteX32" fmla="*/ 2007005 w 2494555"/>
                    <a:gd name="connsiteY32" fmla="*/ 1424108 h 1985059"/>
                    <a:gd name="connsiteX33" fmla="*/ 2001397 w 2494555"/>
                    <a:gd name="connsiteY33" fmla="*/ 1403081 h 1985059"/>
                    <a:gd name="connsiteX34" fmla="*/ 1995790 w 2494555"/>
                    <a:gd name="connsiteY34" fmla="*/ 1384856 h 1985059"/>
                    <a:gd name="connsiteX35" fmla="*/ 1987378 w 2494555"/>
                    <a:gd name="connsiteY35" fmla="*/ 1365228 h 1985059"/>
                    <a:gd name="connsiteX36" fmla="*/ 1980368 w 2494555"/>
                    <a:gd name="connsiteY36" fmla="*/ 1347004 h 1985059"/>
                    <a:gd name="connsiteX37" fmla="*/ 1973359 w 2494555"/>
                    <a:gd name="connsiteY37" fmla="*/ 1327377 h 1985059"/>
                    <a:gd name="connsiteX38" fmla="*/ 1964947 w 2494555"/>
                    <a:gd name="connsiteY38" fmla="*/ 1307750 h 1985059"/>
                    <a:gd name="connsiteX39" fmla="*/ 1957938 w 2494555"/>
                    <a:gd name="connsiteY39" fmla="*/ 1288124 h 1985059"/>
                    <a:gd name="connsiteX40" fmla="*/ 1949526 w 2494555"/>
                    <a:gd name="connsiteY40" fmla="*/ 1269897 h 1985059"/>
                    <a:gd name="connsiteX41" fmla="*/ 1939713 w 2494555"/>
                    <a:gd name="connsiteY41" fmla="*/ 1250272 h 1985059"/>
                    <a:gd name="connsiteX42" fmla="*/ 1929900 w 2494555"/>
                    <a:gd name="connsiteY42" fmla="*/ 1232047 h 1985059"/>
                    <a:gd name="connsiteX43" fmla="*/ 1920086 w 2494555"/>
                    <a:gd name="connsiteY43" fmla="*/ 1212419 h 1985059"/>
                    <a:gd name="connsiteX44" fmla="*/ 1910273 w 2494555"/>
                    <a:gd name="connsiteY44" fmla="*/ 1192792 h 1985059"/>
                    <a:gd name="connsiteX45" fmla="*/ 1900459 w 2494555"/>
                    <a:gd name="connsiteY45" fmla="*/ 1174568 h 1985059"/>
                    <a:gd name="connsiteX46" fmla="*/ 1889244 w 2494555"/>
                    <a:gd name="connsiteY46" fmla="*/ 1156343 h 1985059"/>
                    <a:gd name="connsiteX47" fmla="*/ 1876626 w 2494555"/>
                    <a:gd name="connsiteY47" fmla="*/ 1136716 h 1985059"/>
                    <a:gd name="connsiteX48" fmla="*/ 1865412 w 2494555"/>
                    <a:gd name="connsiteY48" fmla="*/ 1118491 h 1985059"/>
                    <a:gd name="connsiteX49" fmla="*/ 1854196 w 2494555"/>
                    <a:gd name="connsiteY49" fmla="*/ 1100266 h 1985059"/>
                    <a:gd name="connsiteX50" fmla="*/ 1854785 w 2494555"/>
                    <a:gd name="connsiteY50" fmla="*/ 1099737 h 1985059"/>
                    <a:gd name="connsiteX51" fmla="*/ 1809372 w 2494555"/>
                    <a:gd name="connsiteY51" fmla="*/ 1032970 h 1985059"/>
                    <a:gd name="connsiteX52" fmla="*/ 1800895 w 2494555"/>
                    <a:gd name="connsiteY52" fmla="*/ 1021733 h 1985059"/>
                    <a:gd name="connsiteX53" fmla="*/ 1793853 w 2494555"/>
                    <a:gd name="connsiteY53" fmla="*/ 1011959 h 1985059"/>
                    <a:gd name="connsiteX54" fmla="*/ 1784081 w 2494555"/>
                    <a:gd name="connsiteY54" fmla="*/ 1000723 h 1985059"/>
                    <a:gd name="connsiteX55" fmla="*/ 1775746 w 2494555"/>
                    <a:gd name="connsiteY55" fmla="*/ 989484 h 1985059"/>
                    <a:gd name="connsiteX56" fmla="*/ 1765832 w 2494555"/>
                    <a:gd name="connsiteY56" fmla="*/ 976863 h 1985059"/>
                    <a:gd name="connsiteX57" fmla="*/ 1757498 w 2494555"/>
                    <a:gd name="connsiteY57" fmla="*/ 965704 h 1985059"/>
                    <a:gd name="connsiteX58" fmla="*/ 1749019 w 2494555"/>
                    <a:gd name="connsiteY58" fmla="*/ 954467 h 1985059"/>
                    <a:gd name="connsiteX59" fmla="*/ 1739248 w 2494555"/>
                    <a:gd name="connsiteY59" fmla="*/ 944691 h 1985059"/>
                    <a:gd name="connsiteX60" fmla="*/ 1729476 w 2494555"/>
                    <a:gd name="connsiteY60" fmla="*/ 933454 h 1985059"/>
                    <a:gd name="connsiteX61" fmla="*/ 1720998 w 2494555"/>
                    <a:gd name="connsiteY61" fmla="*/ 922217 h 1985059"/>
                    <a:gd name="connsiteX62" fmla="*/ 1709790 w 2494555"/>
                    <a:gd name="connsiteY62" fmla="*/ 910981 h 1985059"/>
                    <a:gd name="connsiteX63" fmla="*/ 1700018 w 2494555"/>
                    <a:gd name="connsiteY63" fmla="*/ 901207 h 1985059"/>
                    <a:gd name="connsiteX64" fmla="*/ 1690103 w 2494555"/>
                    <a:gd name="connsiteY64" fmla="*/ 889969 h 1985059"/>
                    <a:gd name="connsiteX65" fmla="*/ 1680332 w 2494555"/>
                    <a:gd name="connsiteY65" fmla="*/ 880194 h 1985059"/>
                    <a:gd name="connsiteX66" fmla="*/ 1670560 w 2494555"/>
                    <a:gd name="connsiteY66" fmla="*/ 867571 h 1985059"/>
                    <a:gd name="connsiteX67" fmla="*/ 1659352 w 2494555"/>
                    <a:gd name="connsiteY67" fmla="*/ 857721 h 1985059"/>
                    <a:gd name="connsiteX68" fmla="*/ 1649581 w 2494555"/>
                    <a:gd name="connsiteY68" fmla="*/ 847946 h 1985059"/>
                    <a:gd name="connsiteX69" fmla="*/ 1639666 w 2494555"/>
                    <a:gd name="connsiteY69" fmla="*/ 838095 h 1985059"/>
                    <a:gd name="connsiteX70" fmla="*/ 1628457 w 2494555"/>
                    <a:gd name="connsiteY70" fmla="*/ 828320 h 1985059"/>
                    <a:gd name="connsiteX71" fmla="*/ 1618686 w 2494555"/>
                    <a:gd name="connsiteY71" fmla="*/ 817082 h 1985059"/>
                    <a:gd name="connsiteX72" fmla="*/ 1606041 w 2494555"/>
                    <a:gd name="connsiteY72" fmla="*/ 807231 h 1985059"/>
                    <a:gd name="connsiteX73" fmla="*/ 1596269 w 2494555"/>
                    <a:gd name="connsiteY73" fmla="*/ 797456 h 1985059"/>
                    <a:gd name="connsiteX74" fmla="*/ 1585061 w 2494555"/>
                    <a:gd name="connsiteY74" fmla="*/ 787605 h 1985059"/>
                    <a:gd name="connsiteX75" fmla="*/ 1573853 w 2494555"/>
                    <a:gd name="connsiteY75" fmla="*/ 779215 h 1985059"/>
                    <a:gd name="connsiteX76" fmla="*/ 1562644 w 2494555"/>
                    <a:gd name="connsiteY76" fmla="*/ 769442 h 1985059"/>
                    <a:gd name="connsiteX77" fmla="*/ 1549999 w 2494555"/>
                    <a:gd name="connsiteY77" fmla="*/ 758204 h 1985059"/>
                    <a:gd name="connsiteX78" fmla="*/ 1538791 w 2494555"/>
                    <a:gd name="connsiteY78" fmla="*/ 749814 h 1985059"/>
                    <a:gd name="connsiteX79" fmla="*/ 1527583 w 2494555"/>
                    <a:gd name="connsiteY79" fmla="*/ 739962 h 1985059"/>
                    <a:gd name="connsiteX80" fmla="*/ 1516374 w 2494555"/>
                    <a:gd name="connsiteY80" fmla="*/ 731574 h 1985059"/>
                    <a:gd name="connsiteX81" fmla="*/ 1505167 w 2494555"/>
                    <a:gd name="connsiteY81" fmla="*/ 721723 h 1985059"/>
                    <a:gd name="connsiteX82" fmla="*/ 1492521 w 2494555"/>
                    <a:gd name="connsiteY82" fmla="*/ 713333 h 1985059"/>
                    <a:gd name="connsiteX83" fmla="*/ 1456022 w 2494555"/>
                    <a:gd name="connsiteY83" fmla="*/ 686703 h 1985059"/>
                    <a:gd name="connsiteX84" fmla="*/ 1419667 w 2494555"/>
                    <a:gd name="connsiteY84" fmla="*/ 662843 h 1985059"/>
                    <a:gd name="connsiteX85" fmla="*/ 1383167 w 2494555"/>
                    <a:gd name="connsiteY85" fmla="*/ 639062 h 1985059"/>
                    <a:gd name="connsiteX86" fmla="*/ 1348106 w 2494555"/>
                    <a:gd name="connsiteY86" fmla="*/ 619435 h 1985059"/>
                    <a:gd name="connsiteX87" fmla="*/ 1311606 w 2494555"/>
                    <a:gd name="connsiteY87" fmla="*/ 598347 h 1985059"/>
                    <a:gd name="connsiteX88" fmla="*/ 1275251 w 2494555"/>
                    <a:gd name="connsiteY88" fmla="*/ 581569 h 1985059"/>
                    <a:gd name="connsiteX89" fmla="*/ 1240190 w 2494555"/>
                    <a:gd name="connsiteY89" fmla="*/ 566099 h 1985059"/>
                    <a:gd name="connsiteX90" fmla="*/ 1203690 w 2494555"/>
                    <a:gd name="connsiteY90" fmla="*/ 550706 h 1985059"/>
                    <a:gd name="connsiteX91" fmla="*/ 1167192 w 2494555"/>
                    <a:gd name="connsiteY91" fmla="*/ 538084 h 1985059"/>
                    <a:gd name="connsiteX92" fmla="*/ 1133566 w 2494555"/>
                    <a:gd name="connsiteY92" fmla="*/ 525460 h 1985059"/>
                    <a:gd name="connsiteX93" fmla="*/ 1098504 w 2494555"/>
                    <a:gd name="connsiteY93" fmla="*/ 515686 h 1985059"/>
                    <a:gd name="connsiteX94" fmla="*/ 1084678 w 2494555"/>
                    <a:gd name="connsiteY94" fmla="*/ 512913 h 1985059"/>
                    <a:gd name="connsiteX95" fmla="*/ 1084675 w 2494555"/>
                    <a:gd name="connsiteY95" fmla="*/ 512913 h 1985059"/>
                    <a:gd name="connsiteX96" fmla="*/ 1073611 w 2494555"/>
                    <a:gd name="connsiteY96" fmla="*/ 510693 h 1985059"/>
                    <a:gd name="connsiteX97" fmla="*/ 1071360 w 2494555"/>
                    <a:gd name="connsiteY97" fmla="*/ 509898 h 1985059"/>
                    <a:gd name="connsiteX98" fmla="*/ 1043284 w 2494555"/>
                    <a:gd name="connsiteY98" fmla="*/ 504008 h 1985059"/>
                    <a:gd name="connsiteX99" fmla="*/ 1022577 w 2494555"/>
                    <a:gd name="connsiteY99" fmla="*/ 498234 h 1985059"/>
                    <a:gd name="connsiteX100" fmla="*/ 988952 w 2494555"/>
                    <a:gd name="connsiteY100" fmla="*/ 491231 h 1985059"/>
                    <a:gd name="connsiteX101" fmla="*/ 973491 w 2494555"/>
                    <a:gd name="connsiteY101" fmla="*/ 489366 h 1985059"/>
                    <a:gd name="connsiteX102" fmla="*/ 960305 w 2494555"/>
                    <a:gd name="connsiteY102" fmla="*/ 486598 h 1985059"/>
                    <a:gd name="connsiteX103" fmla="*/ 944155 w 2494555"/>
                    <a:gd name="connsiteY103" fmla="*/ 485772 h 1985059"/>
                    <a:gd name="connsiteX104" fmla="*/ 920264 w 2494555"/>
                    <a:gd name="connsiteY104" fmla="*/ 482765 h 1985059"/>
                    <a:gd name="connsiteX105" fmla="*/ 887933 w 2494555"/>
                    <a:gd name="connsiteY105" fmla="*/ 481381 h 1985059"/>
                    <a:gd name="connsiteX106" fmla="*/ 877060 w 2494555"/>
                    <a:gd name="connsiteY106" fmla="*/ 480912 h 1985059"/>
                    <a:gd name="connsiteX107" fmla="*/ 848578 w 2494555"/>
                    <a:gd name="connsiteY107" fmla="*/ 482190 h 1985059"/>
                    <a:gd name="connsiteX108" fmla="*/ 816390 w 2494555"/>
                    <a:gd name="connsiteY108" fmla="*/ 485037 h 1985059"/>
                    <a:gd name="connsiteX109" fmla="*/ 750762 w 2494555"/>
                    <a:gd name="connsiteY109" fmla="*/ 492187 h 1985059"/>
                    <a:gd name="connsiteX110" fmla="*/ 735439 w 2494555"/>
                    <a:gd name="connsiteY110" fmla="*/ 495069 h 1985059"/>
                    <a:gd name="connsiteX111" fmla="*/ 734168 w 2494555"/>
                    <a:gd name="connsiteY111" fmla="*/ 495230 h 1985059"/>
                    <a:gd name="connsiteX112" fmla="*/ 733214 w 2494555"/>
                    <a:gd name="connsiteY112" fmla="*/ 495557 h 1985059"/>
                    <a:gd name="connsiteX113" fmla="*/ 707162 w 2494555"/>
                    <a:gd name="connsiteY113" fmla="*/ 503853 h 1985059"/>
                    <a:gd name="connsiteX114" fmla="*/ 690207 w 2494555"/>
                    <a:gd name="connsiteY114" fmla="*/ 509768 h 1985059"/>
                    <a:gd name="connsiteX115" fmla="*/ 677666 w 2494555"/>
                    <a:gd name="connsiteY115" fmla="*/ 515340 h 1985059"/>
                    <a:gd name="connsiteX116" fmla="*/ 651082 w 2494555"/>
                    <a:gd name="connsiteY116" fmla="*/ 530732 h 1985059"/>
                    <a:gd name="connsiteX117" fmla="*/ 627228 w 2494555"/>
                    <a:gd name="connsiteY117" fmla="*/ 546203 h 1985059"/>
                    <a:gd name="connsiteX118" fmla="*/ 604812 w 2494555"/>
                    <a:gd name="connsiteY118" fmla="*/ 562981 h 1985059"/>
                    <a:gd name="connsiteX119" fmla="*/ 583689 w 2494555"/>
                    <a:gd name="connsiteY119" fmla="*/ 583992 h 1985059"/>
                    <a:gd name="connsiteX120" fmla="*/ 489877 w 2494555"/>
                    <a:gd name="connsiteY120" fmla="*/ 690280 h 1985059"/>
                    <a:gd name="connsiteX121" fmla="*/ 477659 w 2494555"/>
                    <a:gd name="connsiteY121" fmla="*/ 679601 h 1985059"/>
                    <a:gd name="connsiteX122" fmla="*/ 404967 w 2494555"/>
                    <a:gd name="connsiteY122" fmla="*/ 626145 h 1985059"/>
                    <a:gd name="connsiteX123" fmla="*/ 0 w 2494555"/>
                    <a:gd name="connsiteY123" fmla="*/ 323877 h 1985059"/>
                    <a:gd name="connsiteX124" fmla="*/ 56632 w 2494555"/>
                    <a:gd name="connsiteY124" fmla="*/ 246335 h 1985059"/>
                    <a:gd name="connsiteX125" fmla="*/ 122803 w 2494555"/>
                    <a:gd name="connsiteY125" fmla="*/ 175837 h 1985059"/>
                    <a:gd name="connsiteX126" fmla="*/ 236445 w 2494555"/>
                    <a:gd name="connsiteY126" fmla="*/ 93831 h 1985059"/>
                    <a:gd name="connsiteX127" fmla="*/ 365910 w 2494555"/>
                    <a:gd name="connsiteY127" fmla="*/ 40599 h 1985059"/>
                    <a:gd name="connsiteX128" fmla="*/ 367116 w 2494555"/>
                    <a:gd name="connsiteY128" fmla="*/ 40370 h 1985059"/>
                    <a:gd name="connsiteX129" fmla="*/ 389725 w 2494555"/>
                    <a:gd name="connsiteY129" fmla="*/ 31074 h 1985059"/>
                    <a:gd name="connsiteX130" fmla="*/ 533576 w 2494555"/>
                    <a:gd name="connsiteY130" fmla="*/ 3738 h 1985059"/>
                    <a:gd name="connsiteX131" fmla="*/ 688935 w 2494555"/>
                    <a:gd name="connsiteY131" fmla="*/ 861 h 1985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</a:cxnLst>
                  <a:rect l="l" t="t" r="r" b="b"/>
                  <a:pathLst>
                    <a:path w="2494555" h="1985059">
                      <a:moveTo>
                        <a:pt x="688935" y="861"/>
                      </a:moveTo>
                      <a:cubicBezTo>
                        <a:pt x="743598" y="5176"/>
                        <a:pt x="795384" y="12370"/>
                        <a:pt x="850047" y="22441"/>
                      </a:cubicBezTo>
                      <a:cubicBezTo>
                        <a:pt x="947866" y="45461"/>
                        <a:pt x="1038491" y="74234"/>
                        <a:pt x="1131995" y="110202"/>
                      </a:cubicBezTo>
                      <a:cubicBezTo>
                        <a:pt x="1190973" y="137538"/>
                        <a:pt x="1247075" y="164873"/>
                        <a:pt x="1304615" y="193647"/>
                      </a:cubicBezTo>
                      <a:cubicBezTo>
                        <a:pt x="1403872" y="251195"/>
                        <a:pt x="1498813" y="313060"/>
                        <a:pt x="1592316" y="380680"/>
                      </a:cubicBezTo>
                      <a:cubicBezTo>
                        <a:pt x="1743359" y="498294"/>
                        <a:pt x="1880646" y="630476"/>
                        <a:pt x="2002964" y="776617"/>
                      </a:cubicBezTo>
                      <a:cubicBezTo>
                        <a:pt x="2052086" y="844010"/>
                        <a:pt x="2108095" y="908453"/>
                        <a:pt x="2150331" y="978797"/>
                      </a:cubicBezTo>
                      <a:cubicBezTo>
                        <a:pt x="2331287" y="1291384"/>
                        <a:pt x="2500168" y="1616553"/>
                        <a:pt x="2494412" y="1974724"/>
                      </a:cubicBezTo>
                      <a:lnTo>
                        <a:pt x="2493938" y="1974439"/>
                      </a:lnTo>
                      <a:cubicBezTo>
                        <a:pt x="2494067" y="1977979"/>
                        <a:pt x="2494195" y="1981519"/>
                        <a:pt x="2494324" y="1985059"/>
                      </a:cubicBezTo>
                      <a:lnTo>
                        <a:pt x="2481297" y="1977229"/>
                      </a:lnTo>
                      <a:lnTo>
                        <a:pt x="2470097" y="1970497"/>
                      </a:lnTo>
                      <a:cubicBezTo>
                        <a:pt x="2470264" y="1975081"/>
                        <a:pt x="2470430" y="1979665"/>
                        <a:pt x="2470597" y="1984249"/>
                      </a:cubicBezTo>
                      <a:lnTo>
                        <a:pt x="2101830" y="1762610"/>
                      </a:lnTo>
                      <a:lnTo>
                        <a:pt x="2026308" y="1717219"/>
                      </a:lnTo>
                      <a:lnTo>
                        <a:pt x="2067454" y="1683261"/>
                      </a:lnTo>
                      <a:cubicBezTo>
                        <a:pt x="2067520" y="1682828"/>
                        <a:pt x="2067587" y="1682396"/>
                        <a:pt x="2067653" y="1681963"/>
                      </a:cubicBezTo>
                      <a:lnTo>
                        <a:pt x="2042053" y="1703090"/>
                      </a:lnTo>
                      <a:lnTo>
                        <a:pt x="2044857" y="1684867"/>
                      </a:lnTo>
                      <a:lnTo>
                        <a:pt x="2044857" y="1666640"/>
                      </a:lnTo>
                      <a:lnTo>
                        <a:pt x="2044857" y="1649818"/>
                      </a:lnTo>
                      <a:lnTo>
                        <a:pt x="2042053" y="1630190"/>
                      </a:lnTo>
                      <a:lnTo>
                        <a:pt x="2042053" y="1611966"/>
                      </a:lnTo>
                      <a:lnTo>
                        <a:pt x="2040651" y="1593741"/>
                      </a:lnTo>
                      <a:lnTo>
                        <a:pt x="2037847" y="1574114"/>
                      </a:lnTo>
                      <a:lnTo>
                        <a:pt x="2036445" y="1555890"/>
                      </a:lnTo>
                      <a:lnTo>
                        <a:pt x="2033641" y="1537665"/>
                      </a:lnTo>
                      <a:lnTo>
                        <a:pt x="2030838" y="1518039"/>
                      </a:lnTo>
                      <a:lnTo>
                        <a:pt x="2026632" y="1499812"/>
                      </a:lnTo>
                      <a:lnTo>
                        <a:pt x="2022426" y="1481588"/>
                      </a:lnTo>
                      <a:lnTo>
                        <a:pt x="2018220" y="1461961"/>
                      </a:lnTo>
                      <a:lnTo>
                        <a:pt x="2012613" y="1442335"/>
                      </a:lnTo>
                      <a:lnTo>
                        <a:pt x="2007005" y="1424108"/>
                      </a:lnTo>
                      <a:lnTo>
                        <a:pt x="2001397" y="1403081"/>
                      </a:lnTo>
                      <a:lnTo>
                        <a:pt x="1995790" y="1384856"/>
                      </a:lnTo>
                      <a:lnTo>
                        <a:pt x="1987378" y="1365228"/>
                      </a:lnTo>
                      <a:lnTo>
                        <a:pt x="1980368" y="1347004"/>
                      </a:lnTo>
                      <a:lnTo>
                        <a:pt x="1973359" y="1327377"/>
                      </a:lnTo>
                      <a:lnTo>
                        <a:pt x="1964947" y="1307750"/>
                      </a:lnTo>
                      <a:lnTo>
                        <a:pt x="1957938" y="1288124"/>
                      </a:lnTo>
                      <a:lnTo>
                        <a:pt x="1949526" y="1269897"/>
                      </a:lnTo>
                      <a:lnTo>
                        <a:pt x="1939713" y="1250272"/>
                      </a:lnTo>
                      <a:lnTo>
                        <a:pt x="1929900" y="1232047"/>
                      </a:lnTo>
                      <a:lnTo>
                        <a:pt x="1920086" y="1212419"/>
                      </a:lnTo>
                      <a:lnTo>
                        <a:pt x="1910273" y="1192792"/>
                      </a:lnTo>
                      <a:lnTo>
                        <a:pt x="1900459" y="1174568"/>
                      </a:lnTo>
                      <a:lnTo>
                        <a:pt x="1889244" y="1156343"/>
                      </a:lnTo>
                      <a:lnTo>
                        <a:pt x="1876626" y="1136716"/>
                      </a:lnTo>
                      <a:lnTo>
                        <a:pt x="1865412" y="1118491"/>
                      </a:lnTo>
                      <a:lnTo>
                        <a:pt x="1854196" y="1100266"/>
                      </a:lnTo>
                      <a:lnTo>
                        <a:pt x="1854785" y="1099737"/>
                      </a:lnTo>
                      <a:lnTo>
                        <a:pt x="1809372" y="1032970"/>
                      </a:lnTo>
                      <a:cubicBezTo>
                        <a:pt x="1806498" y="1029200"/>
                        <a:pt x="1803767" y="1025504"/>
                        <a:pt x="1800895" y="1021733"/>
                      </a:cubicBezTo>
                      <a:cubicBezTo>
                        <a:pt x="1798594" y="1018501"/>
                        <a:pt x="1796152" y="1015191"/>
                        <a:pt x="1793853" y="1011959"/>
                      </a:cubicBezTo>
                      <a:lnTo>
                        <a:pt x="1784081" y="1000723"/>
                      </a:lnTo>
                      <a:cubicBezTo>
                        <a:pt x="1781351" y="996951"/>
                        <a:pt x="1778477" y="993256"/>
                        <a:pt x="1775746" y="989484"/>
                      </a:cubicBezTo>
                      <a:lnTo>
                        <a:pt x="1765832" y="976863"/>
                      </a:lnTo>
                      <a:cubicBezTo>
                        <a:pt x="1763101" y="973168"/>
                        <a:pt x="1760228" y="969398"/>
                        <a:pt x="1757498" y="965704"/>
                      </a:cubicBezTo>
                      <a:cubicBezTo>
                        <a:pt x="1754623" y="961931"/>
                        <a:pt x="1751894" y="958237"/>
                        <a:pt x="1749019" y="954467"/>
                      </a:cubicBezTo>
                      <a:cubicBezTo>
                        <a:pt x="1745714" y="951233"/>
                        <a:pt x="1742553" y="947923"/>
                        <a:pt x="1739248" y="944691"/>
                      </a:cubicBezTo>
                      <a:lnTo>
                        <a:pt x="1729476" y="933454"/>
                      </a:lnTo>
                      <a:cubicBezTo>
                        <a:pt x="1726603" y="929683"/>
                        <a:pt x="1723872" y="925989"/>
                        <a:pt x="1720998" y="922217"/>
                      </a:cubicBezTo>
                      <a:lnTo>
                        <a:pt x="1709790" y="910981"/>
                      </a:lnTo>
                      <a:cubicBezTo>
                        <a:pt x="1706485" y="907748"/>
                        <a:pt x="1703324" y="904438"/>
                        <a:pt x="1700018" y="901207"/>
                      </a:cubicBezTo>
                      <a:lnTo>
                        <a:pt x="1690103" y="889969"/>
                      </a:lnTo>
                      <a:cubicBezTo>
                        <a:pt x="1686799" y="886735"/>
                        <a:pt x="1683638" y="883427"/>
                        <a:pt x="1680332" y="880194"/>
                      </a:cubicBezTo>
                      <a:cubicBezTo>
                        <a:pt x="1677027" y="875961"/>
                        <a:pt x="1673866" y="871804"/>
                        <a:pt x="1670560" y="867571"/>
                      </a:cubicBezTo>
                      <a:lnTo>
                        <a:pt x="1659352" y="857721"/>
                      </a:lnTo>
                      <a:cubicBezTo>
                        <a:pt x="1656047" y="854488"/>
                        <a:pt x="1652886" y="851177"/>
                        <a:pt x="1649581" y="847946"/>
                      </a:cubicBezTo>
                      <a:lnTo>
                        <a:pt x="1639666" y="838095"/>
                      </a:lnTo>
                      <a:lnTo>
                        <a:pt x="1628457" y="828320"/>
                      </a:lnTo>
                      <a:lnTo>
                        <a:pt x="1618686" y="817082"/>
                      </a:lnTo>
                      <a:cubicBezTo>
                        <a:pt x="1614519" y="813773"/>
                        <a:pt x="1610208" y="810541"/>
                        <a:pt x="1606041" y="807231"/>
                      </a:cubicBezTo>
                      <a:cubicBezTo>
                        <a:pt x="1602736" y="803998"/>
                        <a:pt x="1599575" y="800688"/>
                        <a:pt x="1596269" y="797456"/>
                      </a:cubicBezTo>
                      <a:lnTo>
                        <a:pt x="1585061" y="787605"/>
                      </a:lnTo>
                      <a:lnTo>
                        <a:pt x="1573853" y="779215"/>
                      </a:lnTo>
                      <a:lnTo>
                        <a:pt x="1562644" y="769442"/>
                      </a:lnTo>
                      <a:cubicBezTo>
                        <a:pt x="1558477" y="765671"/>
                        <a:pt x="1554166" y="761975"/>
                        <a:pt x="1549999" y="758204"/>
                      </a:cubicBezTo>
                      <a:lnTo>
                        <a:pt x="1538791" y="749814"/>
                      </a:lnTo>
                      <a:lnTo>
                        <a:pt x="1527583" y="739962"/>
                      </a:lnTo>
                      <a:lnTo>
                        <a:pt x="1516374" y="731574"/>
                      </a:lnTo>
                      <a:lnTo>
                        <a:pt x="1505167" y="721723"/>
                      </a:lnTo>
                      <a:lnTo>
                        <a:pt x="1492521" y="713333"/>
                      </a:lnTo>
                      <a:lnTo>
                        <a:pt x="1456022" y="686703"/>
                      </a:lnTo>
                      <a:lnTo>
                        <a:pt x="1419667" y="662843"/>
                      </a:lnTo>
                      <a:lnTo>
                        <a:pt x="1383167" y="639062"/>
                      </a:lnTo>
                      <a:lnTo>
                        <a:pt x="1348106" y="619435"/>
                      </a:lnTo>
                      <a:lnTo>
                        <a:pt x="1311606" y="598347"/>
                      </a:lnTo>
                      <a:lnTo>
                        <a:pt x="1275251" y="581569"/>
                      </a:lnTo>
                      <a:lnTo>
                        <a:pt x="1240190" y="566099"/>
                      </a:lnTo>
                      <a:lnTo>
                        <a:pt x="1203690" y="550706"/>
                      </a:lnTo>
                      <a:lnTo>
                        <a:pt x="1167192" y="538084"/>
                      </a:lnTo>
                      <a:lnTo>
                        <a:pt x="1133566" y="525460"/>
                      </a:lnTo>
                      <a:lnTo>
                        <a:pt x="1098504" y="515686"/>
                      </a:lnTo>
                      <a:lnTo>
                        <a:pt x="1084678" y="512913"/>
                      </a:lnTo>
                      <a:lnTo>
                        <a:pt x="1084675" y="512913"/>
                      </a:lnTo>
                      <a:lnTo>
                        <a:pt x="1073611" y="510693"/>
                      </a:lnTo>
                      <a:lnTo>
                        <a:pt x="1071360" y="509898"/>
                      </a:lnTo>
                      <a:lnTo>
                        <a:pt x="1043284" y="504008"/>
                      </a:lnTo>
                      <a:lnTo>
                        <a:pt x="1022577" y="498234"/>
                      </a:lnTo>
                      <a:lnTo>
                        <a:pt x="988952" y="491231"/>
                      </a:lnTo>
                      <a:lnTo>
                        <a:pt x="973491" y="489366"/>
                      </a:lnTo>
                      <a:lnTo>
                        <a:pt x="960305" y="486598"/>
                      </a:lnTo>
                      <a:lnTo>
                        <a:pt x="944155" y="485772"/>
                      </a:lnTo>
                      <a:lnTo>
                        <a:pt x="920264" y="482765"/>
                      </a:lnTo>
                      <a:lnTo>
                        <a:pt x="887933" y="481381"/>
                      </a:lnTo>
                      <a:lnTo>
                        <a:pt x="877060" y="480912"/>
                      </a:lnTo>
                      <a:lnTo>
                        <a:pt x="848578" y="482190"/>
                      </a:lnTo>
                      <a:lnTo>
                        <a:pt x="816390" y="485037"/>
                      </a:lnTo>
                      <a:lnTo>
                        <a:pt x="750762" y="492187"/>
                      </a:lnTo>
                      <a:lnTo>
                        <a:pt x="735439" y="495069"/>
                      </a:lnTo>
                      <a:lnTo>
                        <a:pt x="734168" y="495230"/>
                      </a:lnTo>
                      <a:lnTo>
                        <a:pt x="733214" y="495557"/>
                      </a:lnTo>
                      <a:lnTo>
                        <a:pt x="707162" y="503853"/>
                      </a:lnTo>
                      <a:lnTo>
                        <a:pt x="690207" y="509768"/>
                      </a:lnTo>
                      <a:lnTo>
                        <a:pt x="677666" y="515340"/>
                      </a:lnTo>
                      <a:lnTo>
                        <a:pt x="651082" y="530732"/>
                      </a:lnTo>
                      <a:lnTo>
                        <a:pt x="627228" y="546203"/>
                      </a:lnTo>
                      <a:lnTo>
                        <a:pt x="604812" y="562981"/>
                      </a:lnTo>
                      <a:lnTo>
                        <a:pt x="583689" y="583992"/>
                      </a:lnTo>
                      <a:lnTo>
                        <a:pt x="489877" y="690280"/>
                      </a:lnTo>
                      <a:lnTo>
                        <a:pt x="477659" y="679601"/>
                      </a:lnTo>
                      <a:lnTo>
                        <a:pt x="404967" y="626145"/>
                      </a:lnTo>
                      <a:lnTo>
                        <a:pt x="0" y="323877"/>
                      </a:lnTo>
                      <a:cubicBezTo>
                        <a:pt x="18877" y="298030"/>
                        <a:pt x="36165" y="271008"/>
                        <a:pt x="56632" y="246335"/>
                      </a:cubicBezTo>
                      <a:cubicBezTo>
                        <a:pt x="77099" y="221662"/>
                        <a:pt x="100746" y="199336"/>
                        <a:pt x="122803" y="175837"/>
                      </a:cubicBezTo>
                      <a:cubicBezTo>
                        <a:pt x="158765" y="144186"/>
                        <a:pt x="194728" y="118288"/>
                        <a:pt x="236445" y="93831"/>
                      </a:cubicBezTo>
                      <a:cubicBezTo>
                        <a:pt x="279600" y="72251"/>
                        <a:pt x="321316" y="54987"/>
                        <a:pt x="365910" y="40599"/>
                      </a:cubicBezTo>
                      <a:lnTo>
                        <a:pt x="367116" y="40370"/>
                      </a:lnTo>
                      <a:lnTo>
                        <a:pt x="389725" y="31074"/>
                      </a:lnTo>
                      <a:cubicBezTo>
                        <a:pt x="438634" y="18125"/>
                        <a:pt x="484667" y="9492"/>
                        <a:pt x="533576" y="3738"/>
                      </a:cubicBezTo>
                      <a:cubicBezTo>
                        <a:pt x="585362" y="-578"/>
                        <a:pt x="635710" y="-578"/>
                        <a:pt x="688935" y="86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 dirty="0"/>
                </a:p>
              </p:txBody>
            </p:sp>
            <p:sp>
              <p:nvSpPr>
                <p:cNvPr id="35" name="Freeform 118">
                  <a:extLst>
                    <a:ext uri="{FF2B5EF4-FFF2-40B4-BE49-F238E27FC236}">
                      <a16:creationId xmlns:a16="http://schemas.microsoft.com/office/drawing/2014/main" id="{17025631-6432-448B-B023-3218C663C8AF}"/>
                    </a:ext>
                  </a:extLst>
                </p:cNvPr>
                <p:cNvSpPr/>
                <p:nvPr/>
              </p:nvSpPr>
              <p:spPr>
                <a:xfrm rot="4786291">
                  <a:off x="7047031" y="3826732"/>
                  <a:ext cx="55951" cy="3560"/>
                </a:xfrm>
                <a:custGeom>
                  <a:avLst/>
                  <a:gdLst>
                    <a:gd name="connsiteX0" fmla="*/ 0 w 55951"/>
                    <a:gd name="connsiteY0" fmla="*/ 3560 h 3560"/>
                    <a:gd name="connsiteX1" fmla="*/ 630 w 55951"/>
                    <a:gd name="connsiteY1" fmla="*/ 895 h 3560"/>
                    <a:gd name="connsiteX2" fmla="*/ 48446 w 55951"/>
                    <a:gd name="connsiteY2" fmla="*/ 804 h 3560"/>
                    <a:gd name="connsiteX3" fmla="*/ 54258 w 55951"/>
                    <a:gd name="connsiteY3" fmla="*/ 0 h 3560"/>
                    <a:gd name="connsiteX4" fmla="*/ 54120 w 55951"/>
                    <a:gd name="connsiteY4" fmla="*/ 793 h 3560"/>
                    <a:gd name="connsiteX5" fmla="*/ 55951 w 55951"/>
                    <a:gd name="connsiteY5" fmla="*/ 790 h 3560"/>
                    <a:gd name="connsiteX6" fmla="*/ 0 w 55951"/>
                    <a:gd name="connsiteY6" fmla="*/ 3560 h 35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55951" h="3560">
                      <a:moveTo>
                        <a:pt x="0" y="3560"/>
                      </a:moveTo>
                      <a:lnTo>
                        <a:pt x="630" y="895"/>
                      </a:lnTo>
                      <a:lnTo>
                        <a:pt x="48446" y="804"/>
                      </a:lnTo>
                      <a:lnTo>
                        <a:pt x="54258" y="0"/>
                      </a:lnTo>
                      <a:lnTo>
                        <a:pt x="54120" y="793"/>
                      </a:lnTo>
                      <a:lnTo>
                        <a:pt x="55951" y="790"/>
                      </a:lnTo>
                      <a:lnTo>
                        <a:pt x="0" y="3560"/>
                      </a:lnTo>
                      <a:close/>
                    </a:path>
                  </a:pathLst>
                </a:custGeom>
                <a:solidFill>
                  <a:schemeClr val="accent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36" name="Freeform 117">
                  <a:extLst>
                    <a:ext uri="{FF2B5EF4-FFF2-40B4-BE49-F238E27FC236}">
                      <a16:creationId xmlns:a16="http://schemas.microsoft.com/office/drawing/2014/main" id="{34BA7423-6486-4CD1-9CF6-5FED1BA69EB5}"/>
                    </a:ext>
                  </a:extLst>
                </p:cNvPr>
                <p:cNvSpPr/>
                <p:nvPr/>
              </p:nvSpPr>
              <p:spPr>
                <a:xfrm rot="4786291">
                  <a:off x="7064738" y="3875265"/>
                  <a:ext cx="40577" cy="967"/>
                </a:xfrm>
                <a:custGeom>
                  <a:avLst/>
                  <a:gdLst>
                    <a:gd name="connsiteX0" fmla="*/ 0 w 40577"/>
                    <a:gd name="connsiteY0" fmla="*/ 967 h 967"/>
                    <a:gd name="connsiteX1" fmla="*/ 19524 w 40577"/>
                    <a:gd name="connsiteY1" fmla="*/ 0 h 967"/>
                    <a:gd name="connsiteX2" fmla="*/ 40577 w 40577"/>
                    <a:gd name="connsiteY2" fmla="*/ 889 h 967"/>
                    <a:gd name="connsiteX3" fmla="*/ 0 w 40577"/>
                    <a:gd name="connsiteY3" fmla="*/ 967 h 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0577" h="967">
                      <a:moveTo>
                        <a:pt x="0" y="967"/>
                      </a:moveTo>
                      <a:lnTo>
                        <a:pt x="19524" y="0"/>
                      </a:lnTo>
                      <a:lnTo>
                        <a:pt x="40577" y="889"/>
                      </a:lnTo>
                      <a:lnTo>
                        <a:pt x="0" y="967"/>
                      </a:lnTo>
                      <a:close/>
                    </a:path>
                  </a:pathLst>
                </a:custGeom>
                <a:solidFill>
                  <a:schemeClr val="accent1">
                    <a:alpha val="3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37" name="Freeform 13">
                  <a:extLst>
                    <a:ext uri="{FF2B5EF4-FFF2-40B4-BE49-F238E27FC236}">
                      <a16:creationId xmlns:a16="http://schemas.microsoft.com/office/drawing/2014/main" id="{512F36B4-94F9-43D8-A0A4-0E6F44CA63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28475" y="3870684"/>
                  <a:ext cx="679930" cy="452820"/>
                </a:xfrm>
                <a:custGeom>
                  <a:avLst/>
                  <a:gdLst>
                    <a:gd name="T0" fmla="*/ 485 w 485"/>
                    <a:gd name="T1" fmla="*/ 192 h 323"/>
                    <a:gd name="T2" fmla="*/ 316 w 485"/>
                    <a:gd name="T3" fmla="*/ 323 h 323"/>
                    <a:gd name="T4" fmla="*/ 0 w 485"/>
                    <a:gd name="T5" fmla="*/ 137 h 323"/>
                    <a:gd name="T6" fmla="*/ 166 w 485"/>
                    <a:gd name="T7" fmla="*/ 0 h 323"/>
                    <a:gd name="T8" fmla="*/ 485 w 485"/>
                    <a:gd name="T9" fmla="*/ 192 h 3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85" h="323">
                      <a:moveTo>
                        <a:pt x="485" y="192"/>
                      </a:moveTo>
                      <a:lnTo>
                        <a:pt x="316" y="323"/>
                      </a:lnTo>
                      <a:lnTo>
                        <a:pt x="0" y="137"/>
                      </a:lnTo>
                      <a:lnTo>
                        <a:pt x="166" y="0"/>
                      </a:lnTo>
                      <a:lnTo>
                        <a:pt x="485" y="192"/>
                      </a:lnTo>
                      <a:close/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D" dirty="0"/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DD2688A0-090F-41BB-B64B-62BE6E41836E}"/>
                    </a:ext>
                  </a:extLst>
                </p:cNvPr>
                <p:cNvGrpSpPr/>
                <p:nvPr/>
              </p:nvGrpSpPr>
              <p:grpSpPr>
                <a:xfrm>
                  <a:off x="5623775" y="3921152"/>
                  <a:ext cx="1481826" cy="1092095"/>
                  <a:chOff x="1985963" y="3622675"/>
                  <a:chExt cx="1677988" cy="1236663"/>
                </a:xfrm>
              </p:grpSpPr>
              <p:sp>
                <p:nvSpPr>
                  <p:cNvPr id="44" name="Freeform 19">
                    <a:extLst>
                      <a:ext uri="{FF2B5EF4-FFF2-40B4-BE49-F238E27FC236}">
                        <a16:creationId xmlns:a16="http://schemas.microsoft.com/office/drawing/2014/main" id="{97009C31-60D7-44A7-ACDC-92DBD69A1B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5963" y="4492625"/>
                    <a:ext cx="1393825" cy="366713"/>
                  </a:xfrm>
                  <a:custGeom>
                    <a:avLst/>
                    <a:gdLst>
                      <a:gd name="T0" fmla="*/ 878 w 878"/>
                      <a:gd name="T1" fmla="*/ 3 h 231"/>
                      <a:gd name="T2" fmla="*/ 703 w 878"/>
                      <a:gd name="T3" fmla="*/ 133 h 231"/>
                      <a:gd name="T4" fmla="*/ 679 w 878"/>
                      <a:gd name="T5" fmla="*/ 150 h 231"/>
                      <a:gd name="T6" fmla="*/ 655 w 878"/>
                      <a:gd name="T7" fmla="*/ 164 h 231"/>
                      <a:gd name="T8" fmla="*/ 629 w 878"/>
                      <a:gd name="T9" fmla="*/ 179 h 231"/>
                      <a:gd name="T10" fmla="*/ 601 w 878"/>
                      <a:gd name="T11" fmla="*/ 190 h 231"/>
                      <a:gd name="T12" fmla="*/ 573 w 878"/>
                      <a:gd name="T13" fmla="*/ 201 h 231"/>
                      <a:gd name="T14" fmla="*/ 545 w 878"/>
                      <a:gd name="T15" fmla="*/ 210 h 231"/>
                      <a:gd name="T16" fmla="*/ 514 w 878"/>
                      <a:gd name="T17" fmla="*/ 218 h 231"/>
                      <a:gd name="T18" fmla="*/ 483 w 878"/>
                      <a:gd name="T19" fmla="*/ 223 h 231"/>
                      <a:gd name="T20" fmla="*/ 450 w 878"/>
                      <a:gd name="T21" fmla="*/ 228 h 231"/>
                      <a:gd name="T22" fmla="*/ 417 w 878"/>
                      <a:gd name="T23" fmla="*/ 230 h 231"/>
                      <a:gd name="T24" fmla="*/ 383 w 878"/>
                      <a:gd name="T25" fmla="*/ 231 h 231"/>
                      <a:gd name="T26" fmla="*/ 348 w 878"/>
                      <a:gd name="T27" fmla="*/ 230 h 231"/>
                      <a:gd name="T28" fmla="*/ 312 w 878"/>
                      <a:gd name="T29" fmla="*/ 228 h 231"/>
                      <a:gd name="T30" fmla="*/ 275 w 878"/>
                      <a:gd name="T31" fmla="*/ 224 h 231"/>
                      <a:gd name="T32" fmla="*/ 237 w 878"/>
                      <a:gd name="T33" fmla="*/ 218 h 231"/>
                      <a:gd name="T34" fmla="*/ 199 w 878"/>
                      <a:gd name="T35" fmla="*/ 209 h 231"/>
                      <a:gd name="T36" fmla="*/ 160 w 878"/>
                      <a:gd name="T37" fmla="*/ 200 h 231"/>
                      <a:gd name="T38" fmla="*/ 121 w 878"/>
                      <a:gd name="T39" fmla="*/ 189 h 231"/>
                      <a:gd name="T40" fmla="*/ 81 w 878"/>
                      <a:gd name="T41" fmla="*/ 175 h 231"/>
                      <a:gd name="T42" fmla="*/ 41 w 878"/>
                      <a:gd name="T43" fmla="*/ 160 h 231"/>
                      <a:gd name="T44" fmla="*/ 0 w 878"/>
                      <a:gd name="T45" fmla="*/ 143 h 231"/>
                      <a:gd name="T46" fmla="*/ 172 w 878"/>
                      <a:gd name="T47" fmla="*/ 4 h 231"/>
                      <a:gd name="T48" fmla="*/ 208 w 878"/>
                      <a:gd name="T49" fmla="*/ 0 h 231"/>
                      <a:gd name="T50" fmla="*/ 248 w 878"/>
                      <a:gd name="T51" fmla="*/ 16 h 231"/>
                      <a:gd name="T52" fmla="*/ 289 w 878"/>
                      <a:gd name="T53" fmla="*/ 30 h 231"/>
                      <a:gd name="T54" fmla="*/ 328 w 878"/>
                      <a:gd name="T55" fmla="*/ 42 h 231"/>
                      <a:gd name="T56" fmla="*/ 367 w 878"/>
                      <a:gd name="T57" fmla="*/ 52 h 231"/>
                      <a:gd name="T58" fmla="*/ 406 w 878"/>
                      <a:gd name="T59" fmla="*/ 61 h 231"/>
                      <a:gd name="T60" fmla="*/ 444 w 878"/>
                      <a:gd name="T61" fmla="*/ 68 h 231"/>
                      <a:gd name="T62" fmla="*/ 481 w 878"/>
                      <a:gd name="T63" fmla="*/ 72 h 231"/>
                      <a:gd name="T64" fmla="*/ 517 w 878"/>
                      <a:gd name="T65" fmla="*/ 75 h 231"/>
                      <a:gd name="T66" fmla="*/ 552 w 878"/>
                      <a:gd name="T67" fmla="*/ 77 h 231"/>
                      <a:gd name="T68" fmla="*/ 587 w 878"/>
                      <a:gd name="T69" fmla="*/ 76 h 231"/>
                      <a:gd name="T70" fmla="*/ 620 w 878"/>
                      <a:gd name="T71" fmla="*/ 74 h 231"/>
                      <a:gd name="T72" fmla="*/ 652 w 878"/>
                      <a:gd name="T73" fmla="*/ 70 h 231"/>
                      <a:gd name="T74" fmla="*/ 684 w 878"/>
                      <a:gd name="T75" fmla="*/ 65 h 231"/>
                      <a:gd name="T76" fmla="*/ 714 w 878"/>
                      <a:gd name="T77" fmla="*/ 58 h 231"/>
                      <a:gd name="T78" fmla="*/ 744 w 878"/>
                      <a:gd name="T79" fmla="*/ 48 h 231"/>
                      <a:gd name="T80" fmla="*/ 772 w 878"/>
                      <a:gd name="T81" fmla="*/ 38 h 231"/>
                      <a:gd name="T82" fmla="*/ 799 w 878"/>
                      <a:gd name="T83" fmla="*/ 27 h 231"/>
                      <a:gd name="T84" fmla="*/ 830 w 878"/>
                      <a:gd name="T85" fmla="*/ 35 h 231"/>
                      <a:gd name="T86" fmla="*/ 855 w 878"/>
                      <a:gd name="T87" fmla="*/ 20 h 231"/>
                      <a:gd name="T88" fmla="*/ 878 w 878"/>
                      <a:gd name="T89" fmla="*/ 3 h 2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</a:cxnLst>
                    <a:rect l="0" t="0" r="r" b="b"/>
                    <a:pathLst>
                      <a:path w="878" h="231">
                        <a:moveTo>
                          <a:pt x="878" y="3"/>
                        </a:moveTo>
                        <a:lnTo>
                          <a:pt x="703" y="133"/>
                        </a:lnTo>
                        <a:lnTo>
                          <a:pt x="679" y="150"/>
                        </a:lnTo>
                        <a:lnTo>
                          <a:pt x="655" y="164"/>
                        </a:lnTo>
                        <a:lnTo>
                          <a:pt x="629" y="179"/>
                        </a:lnTo>
                        <a:lnTo>
                          <a:pt x="601" y="190"/>
                        </a:lnTo>
                        <a:lnTo>
                          <a:pt x="573" y="201"/>
                        </a:lnTo>
                        <a:lnTo>
                          <a:pt x="545" y="210"/>
                        </a:lnTo>
                        <a:lnTo>
                          <a:pt x="514" y="218"/>
                        </a:lnTo>
                        <a:lnTo>
                          <a:pt x="483" y="223"/>
                        </a:lnTo>
                        <a:lnTo>
                          <a:pt x="450" y="228"/>
                        </a:lnTo>
                        <a:lnTo>
                          <a:pt x="417" y="230"/>
                        </a:lnTo>
                        <a:lnTo>
                          <a:pt x="383" y="231"/>
                        </a:lnTo>
                        <a:lnTo>
                          <a:pt x="348" y="230"/>
                        </a:lnTo>
                        <a:lnTo>
                          <a:pt x="312" y="228"/>
                        </a:lnTo>
                        <a:lnTo>
                          <a:pt x="275" y="224"/>
                        </a:lnTo>
                        <a:lnTo>
                          <a:pt x="237" y="218"/>
                        </a:lnTo>
                        <a:lnTo>
                          <a:pt x="199" y="209"/>
                        </a:lnTo>
                        <a:lnTo>
                          <a:pt x="160" y="200"/>
                        </a:lnTo>
                        <a:lnTo>
                          <a:pt x="121" y="189"/>
                        </a:lnTo>
                        <a:lnTo>
                          <a:pt x="81" y="175"/>
                        </a:lnTo>
                        <a:lnTo>
                          <a:pt x="41" y="160"/>
                        </a:lnTo>
                        <a:lnTo>
                          <a:pt x="0" y="143"/>
                        </a:lnTo>
                        <a:lnTo>
                          <a:pt x="172" y="4"/>
                        </a:lnTo>
                        <a:lnTo>
                          <a:pt x="208" y="0"/>
                        </a:lnTo>
                        <a:lnTo>
                          <a:pt x="248" y="16"/>
                        </a:lnTo>
                        <a:lnTo>
                          <a:pt x="289" y="30"/>
                        </a:lnTo>
                        <a:lnTo>
                          <a:pt x="328" y="42"/>
                        </a:lnTo>
                        <a:lnTo>
                          <a:pt x="367" y="52"/>
                        </a:lnTo>
                        <a:lnTo>
                          <a:pt x="406" y="61"/>
                        </a:lnTo>
                        <a:lnTo>
                          <a:pt x="444" y="68"/>
                        </a:lnTo>
                        <a:lnTo>
                          <a:pt x="481" y="72"/>
                        </a:lnTo>
                        <a:lnTo>
                          <a:pt x="517" y="75"/>
                        </a:lnTo>
                        <a:lnTo>
                          <a:pt x="552" y="77"/>
                        </a:lnTo>
                        <a:lnTo>
                          <a:pt x="587" y="76"/>
                        </a:lnTo>
                        <a:lnTo>
                          <a:pt x="620" y="74"/>
                        </a:lnTo>
                        <a:lnTo>
                          <a:pt x="652" y="70"/>
                        </a:lnTo>
                        <a:lnTo>
                          <a:pt x="684" y="65"/>
                        </a:lnTo>
                        <a:lnTo>
                          <a:pt x="714" y="58"/>
                        </a:lnTo>
                        <a:lnTo>
                          <a:pt x="744" y="48"/>
                        </a:lnTo>
                        <a:lnTo>
                          <a:pt x="772" y="38"/>
                        </a:lnTo>
                        <a:lnTo>
                          <a:pt x="799" y="27"/>
                        </a:lnTo>
                        <a:lnTo>
                          <a:pt x="830" y="35"/>
                        </a:lnTo>
                        <a:lnTo>
                          <a:pt x="855" y="20"/>
                        </a:lnTo>
                        <a:lnTo>
                          <a:pt x="878" y="3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5" name="Freeform 21">
                    <a:extLst>
                      <a:ext uri="{FF2B5EF4-FFF2-40B4-BE49-F238E27FC236}">
                        <a16:creationId xmlns:a16="http://schemas.microsoft.com/office/drawing/2014/main" id="{D4AE1FB1-CBEC-40F3-A2CB-C3882E3413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85963" y="3937000"/>
                    <a:ext cx="300038" cy="782638"/>
                  </a:xfrm>
                  <a:custGeom>
                    <a:avLst/>
                    <a:gdLst>
                      <a:gd name="T0" fmla="*/ 172 w 189"/>
                      <a:gd name="T1" fmla="*/ 354 h 493"/>
                      <a:gd name="T2" fmla="*/ 0 w 189"/>
                      <a:gd name="T3" fmla="*/ 493 h 493"/>
                      <a:gd name="T4" fmla="*/ 22 w 189"/>
                      <a:gd name="T5" fmla="*/ 143 h 493"/>
                      <a:gd name="T6" fmla="*/ 189 w 189"/>
                      <a:gd name="T7" fmla="*/ 0 h 493"/>
                      <a:gd name="T8" fmla="*/ 172 w 189"/>
                      <a:gd name="T9" fmla="*/ 354 h 4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9" h="493">
                        <a:moveTo>
                          <a:pt x="172" y="354"/>
                        </a:moveTo>
                        <a:lnTo>
                          <a:pt x="0" y="493"/>
                        </a:lnTo>
                        <a:lnTo>
                          <a:pt x="22" y="143"/>
                        </a:lnTo>
                        <a:lnTo>
                          <a:pt x="189" y="0"/>
                        </a:lnTo>
                        <a:lnTo>
                          <a:pt x="172" y="35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5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6" name="Freeform 23">
                    <a:extLst>
                      <a:ext uri="{FF2B5EF4-FFF2-40B4-BE49-F238E27FC236}">
                        <a16:creationId xmlns:a16="http://schemas.microsoft.com/office/drawing/2014/main" id="{41C0480E-6B92-4C27-A5E5-AEA953E801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17800" y="3622675"/>
                    <a:ext cx="438150" cy="536575"/>
                  </a:xfrm>
                  <a:custGeom>
                    <a:avLst/>
                    <a:gdLst>
                      <a:gd name="T0" fmla="*/ 0 w 276"/>
                      <a:gd name="T1" fmla="*/ 338 h 338"/>
                      <a:gd name="T2" fmla="*/ 25 w 276"/>
                      <a:gd name="T3" fmla="*/ 314 h 338"/>
                      <a:gd name="T4" fmla="*/ 49 w 276"/>
                      <a:gd name="T5" fmla="*/ 287 h 338"/>
                      <a:gd name="T6" fmla="*/ 68 w 276"/>
                      <a:gd name="T7" fmla="*/ 257 h 338"/>
                      <a:gd name="T8" fmla="*/ 85 w 276"/>
                      <a:gd name="T9" fmla="*/ 223 h 338"/>
                      <a:gd name="T10" fmla="*/ 98 w 276"/>
                      <a:gd name="T11" fmla="*/ 186 h 338"/>
                      <a:gd name="T12" fmla="*/ 98 w 276"/>
                      <a:gd name="T13" fmla="*/ 183 h 338"/>
                      <a:gd name="T14" fmla="*/ 99 w 276"/>
                      <a:gd name="T15" fmla="*/ 180 h 338"/>
                      <a:gd name="T16" fmla="*/ 100 w 276"/>
                      <a:gd name="T17" fmla="*/ 177 h 338"/>
                      <a:gd name="T18" fmla="*/ 101 w 276"/>
                      <a:gd name="T19" fmla="*/ 173 h 338"/>
                      <a:gd name="T20" fmla="*/ 101 w 276"/>
                      <a:gd name="T21" fmla="*/ 170 h 338"/>
                      <a:gd name="T22" fmla="*/ 102 w 276"/>
                      <a:gd name="T23" fmla="*/ 168 h 338"/>
                      <a:gd name="T24" fmla="*/ 103 w 276"/>
                      <a:gd name="T25" fmla="*/ 165 h 338"/>
                      <a:gd name="T26" fmla="*/ 103 w 276"/>
                      <a:gd name="T27" fmla="*/ 162 h 338"/>
                      <a:gd name="T28" fmla="*/ 104 w 276"/>
                      <a:gd name="T29" fmla="*/ 159 h 338"/>
                      <a:gd name="T30" fmla="*/ 104 w 276"/>
                      <a:gd name="T31" fmla="*/ 156 h 338"/>
                      <a:gd name="T32" fmla="*/ 105 w 276"/>
                      <a:gd name="T33" fmla="*/ 153 h 338"/>
                      <a:gd name="T34" fmla="*/ 106 w 276"/>
                      <a:gd name="T35" fmla="*/ 150 h 338"/>
                      <a:gd name="T36" fmla="*/ 106 w 276"/>
                      <a:gd name="T37" fmla="*/ 147 h 338"/>
                      <a:gd name="T38" fmla="*/ 107 w 276"/>
                      <a:gd name="T39" fmla="*/ 145 h 338"/>
                      <a:gd name="T40" fmla="*/ 107 w 276"/>
                      <a:gd name="T41" fmla="*/ 141 h 338"/>
                      <a:gd name="T42" fmla="*/ 108 w 276"/>
                      <a:gd name="T43" fmla="*/ 138 h 338"/>
                      <a:gd name="T44" fmla="*/ 276 w 276"/>
                      <a:gd name="T45" fmla="*/ 2 h 338"/>
                      <a:gd name="T46" fmla="*/ 276 w 276"/>
                      <a:gd name="T47" fmla="*/ 4 h 338"/>
                      <a:gd name="T48" fmla="*/ 275 w 276"/>
                      <a:gd name="T49" fmla="*/ 7 h 338"/>
                      <a:gd name="T50" fmla="*/ 275 w 276"/>
                      <a:gd name="T51" fmla="*/ 11 h 338"/>
                      <a:gd name="T52" fmla="*/ 274 w 276"/>
                      <a:gd name="T53" fmla="*/ 13 h 338"/>
                      <a:gd name="T54" fmla="*/ 273 w 276"/>
                      <a:gd name="T55" fmla="*/ 16 h 338"/>
                      <a:gd name="T56" fmla="*/ 273 w 276"/>
                      <a:gd name="T57" fmla="*/ 20 h 338"/>
                      <a:gd name="T58" fmla="*/ 273 w 276"/>
                      <a:gd name="T59" fmla="*/ 23 h 338"/>
                      <a:gd name="T60" fmla="*/ 272 w 276"/>
                      <a:gd name="T61" fmla="*/ 26 h 338"/>
                      <a:gd name="T62" fmla="*/ 271 w 276"/>
                      <a:gd name="T63" fmla="*/ 29 h 338"/>
                      <a:gd name="T64" fmla="*/ 271 w 276"/>
                      <a:gd name="T65" fmla="*/ 32 h 338"/>
                      <a:gd name="T66" fmla="*/ 269 w 276"/>
                      <a:gd name="T67" fmla="*/ 35 h 338"/>
                      <a:gd name="T68" fmla="*/ 269 w 276"/>
                      <a:gd name="T69" fmla="*/ 37 h 338"/>
                      <a:gd name="T70" fmla="*/ 267 w 276"/>
                      <a:gd name="T71" fmla="*/ 40 h 338"/>
                      <a:gd name="T72" fmla="*/ 267 w 276"/>
                      <a:gd name="T73" fmla="*/ 43 h 338"/>
                      <a:gd name="T74" fmla="*/ 266 w 276"/>
                      <a:gd name="T75" fmla="*/ 46 h 338"/>
                      <a:gd name="T76" fmla="*/ 260 w 276"/>
                      <a:gd name="T77" fmla="*/ 67 h 338"/>
                      <a:gd name="T78" fmla="*/ 247 w 276"/>
                      <a:gd name="T79" fmla="*/ 103 h 338"/>
                      <a:gd name="T80" fmla="*/ 228 w 276"/>
                      <a:gd name="T81" fmla="*/ 134 h 338"/>
                      <a:gd name="T82" fmla="*/ 208 w 276"/>
                      <a:gd name="T83" fmla="*/ 163 h 338"/>
                      <a:gd name="T84" fmla="*/ 183 w 276"/>
                      <a:gd name="T85" fmla="*/ 188 h 3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276" h="338">
                        <a:moveTo>
                          <a:pt x="170" y="200"/>
                        </a:moveTo>
                        <a:lnTo>
                          <a:pt x="0" y="338"/>
                        </a:lnTo>
                        <a:lnTo>
                          <a:pt x="13" y="326"/>
                        </a:lnTo>
                        <a:lnTo>
                          <a:pt x="25" y="314"/>
                        </a:lnTo>
                        <a:lnTo>
                          <a:pt x="38" y="301"/>
                        </a:lnTo>
                        <a:lnTo>
                          <a:pt x="49" y="287"/>
                        </a:lnTo>
                        <a:lnTo>
                          <a:pt x="59" y="272"/>
                        </a:lnTo>
                        <a:lnTo>
                          <a:pt x="68" y="257"/>
                        </a:lnTo>
                        <a:lnTo>
                          <a:pt x="78" y="240"/>
                        </a:lnTo>
                        <a:lnTo>
                          <a:pt x="85" y="223"/>
                        </a:lnTo>
                        <a:lnTo>
                          <a:pt x="92" y="204"/>
                        </a:lnTo>
                        <a:lnTo>
                          <a:pt x="98" y="186"/>
                        </a:lnTo>
                        <a:lnTo>
                          <a:pt x="98" y="184"/>
                        </a:lnTo>
                        <a:lnTo>
                          <a:pt x="98" y="183"/>
                        </a:lnTo>
                        <a:lnTo>
                          <a:pt x="99" y="182"/>
                        </a:lnTo>
                        <a:lnTo>
                          <a:pt x="99" y="180"/>
                        </a:lnTo>
                        <a:lnTo>
                          <a:pt x="100" y="179"/>
                        </a:lnTo>
                        <a:lnTo>
                          <a:pt x="100" y="177"/>
                        </a:lnTo>
                        <a:lnTo>
                          <a:pt x="101" y="176"/>
                        </a:lnTo>
                        <a:lnTo>
                          <a:pt x="101" y="173"/>
                        </a:lnTo>
                        <a:lnTo>
                          <a:pt x="101" y="172"/>
                        </a:lnTo>
                        <a:lnTo>
                          <a:pt x="101" y="170"/>
                        </a:lnTo>
                        <a:lnTo>
                          <a:pt x="102" y="169"/>
                        </a:lnTo>
                        <a:lnTo>
                          <a:pt x="102" y="168"/>
                        </a:lnTo>
                        <a:lnTo>
                          <a:pt x="102" y="166"/>
                        </a:lnTo>
                        <a:lnTo>
                          <a:pt x="103" y="165"/>
                        </a:lnTo>
                        <a:lnTo>
                          <a:pt x="103" y="163"/>
                        </a:lnTo>
                        <a:lnTo>
                          <a:pt x="103" y="162"/>
                        </a:lnTo>
                        <a:lnTo>
                          <a:pt x="104" y="160"/>
                        </a:lnTo>
                        <a:lnTo>
                          <a:pt x="104" y="159"/>
                        </a:lnTo>
                        <a:lnTo>
                          <a:pt x="104" y="158"/>
                        </a:lnTo>
                        <a:lnTo>
                          <a:pt x="104" y="156"/>
                        </a:lnTo>
                        <a:lnTo>
                          <a:pt x="105" y="155"/>
                        </a:lnTo>
                        <a:lnTo>
                          <a:pt x="105" y="153"/>
                        </a:lnTo>
                        <a:lnTo>
                          <a:pt x="106" y="152"/>
                        </a:lnTo>
                        <a:lnTo>
                          <a:pt x="106" y="150"/>
                        </a:lnTo>
                        <a:lnTo>
                          <a:pt x="106" y="149"/>
                        </a:lnTo>
                        <a:lnTo>
                          <a:pt x="106" y="147"/>
                        </a:lnTo>
                        <a:lnTo>
                          <a:pt x="106" y="146"/>
                        </a:lnTo>
                        <a:lnTo>
                          <a:pt x="107" y="145"/>
                        </a:lnTo>
                        <a:lnTo>
                          <a:pt x="107" y="143"/>
                        </a:lnTo>
                        <a:lnTo>
                          <a:pt x="107" y="141"/>
                        </a:lnTo>
                        <a:lnTo>
                          <a:pt x="108" y="140"/>
                        </a:lnTo>
                        <a:lnTo>
                          <a:pt x="108" y="138"/>
                        </a:lnTo>
                        <a:lnTo>
                          <a:pt x="276" y="0"/>
                        </a:lnTo>
                        <a:lnTo>
                          <a:pt x="276" y="2"/>
                        </a:lnTo>
                        <a:lnTo>
                          <a:pt x="276" y="3"/>
                        </a:lnTo>
                        <a:lnTo>
                          <a:pt x="276" y="4"/>
                        </a:lnTo>
                        <a:lnTo>
                          <a:pt x="275" y="6"/>
                        </a:lnTo>
                        <a:lnTo>
                          <a:pt x="275" y="7"/>
                        </a:lnTo>
                        <a:lnTo>
                          <a:pt x="275" y="9"/>
                        </a:lnTo>
                        <a:lnTo>
                          <a:pt x="275" y="11"/>
                        </a:lnTo>
                        <a:lnTo>
                          <a:pt x="274" y="12"/>
                        </a:lnTo>
                        <a:lnTo>
                          <a:pt x="274" y="13"/>
                        </a:lnTo>
                        <a:lnTo>
                          <a:pt x="274" y="15"/>
                        </a:lnTo>
                        <a:lnTo>
                          <a:pt x="273" y="16"/>
                        </a:lnTo>
                        <a:lnTo>
                          <a:pt x="273" y="19"/>
                        </a:lnTo>
                        <a:lnTo>
                          <a:pt x="273" y="20"/>
                        </a:lnTo>
                        <a:lnTo>
                          <a:pt x="273" y="22"/>
                        </a:lnTo>
                        <a:lnTo>
                          <a:pt x="273" y="23"/>
                        </a:lnTo>
                        <a:lnTo>
                          <a:pt x="272" y="25"/>
                        </a:lnTo>
                        <a:lnTo>
                          <a:pt x="272" y="26"/>
                        </a:lnTo>
                        <a:lnTo>
                          <a:pt x="271" y="27"/>
                        </a:lnTo>
                        <a:lnTo>
                          <a:pt x="271" y="29"/>
                        </a:lnTo>
                        <a:lnTo>
                          <a:pt x="271" y="30"/>
                        </a:lnTo>
                        <a:lnTo>
                          <a:pt x="271" y="32"/>
                        </a:lnTo>
                        <a:lnTo>
                          <a:pt x="269" y="33"/>
                        </a:lnTo>
                        <a:lnTo>
                          <a:pt x="269" y="35"/>
                        </a:lnTo>
                        <a:lnTo>
                          <a:pt x="269" y="36"/>
                        </a:lnTo>
                        <a:lnTo>
                          <a:pt x="269" y="37"/>
                        </a:lnTo>
                        <a:lnTo>
                          <a:pt x="268" y="39"/>
                        </a:lnTo>
                        <a:lnTo>
                          <a:pt x="267" y="40"/>
                        </a:lnTo>
                        <a:lnTo>
                          <a:pt x="267" y="42"/>
                        </a:lnTo>
                        <a:lnTo>
                          <a:pt x="267" y="43"/>
                        </a:lnTo>
                        <a:lnTo>
                          <a:pt x="267" y="45"/>
                        </a:lnTo>
                        <a:lnTo>
                          <a:pt x="266" y="46"/>
                        </a:lnTo>
                        <a:lnTo>
                          <a:pt x="266" y="48"/>
                        </a:lnTo>
                        <a:lnTo>
                          <a:pt x="260" y="67"/>
                        </a:lnTo>
                        <a:lnTo>
                          <a:pt x="254" y="85"/>
                        </a:lnTo>
                        <a:lnTo>
                          <a:pt x="247" y="103"/>
                        </a:lnTo>
                        <a:lnTo>
                          <a:pt x="238" y="119"/>
                        </a:lnTo>
                        <a:lnTo>
                          <a:pt x="228" y="134"/>
                        </a:lnTo>
                        <a:lnTo>
                          <a:pt x="218" y="150"/>
                        </a:lnTo>
                        <a:lnTo>
                          <a:pt x="208" y="163"/>
                        </a:lnTo>
                        <a:lnTo>
                          <a:pt x="196" y="177"/>
                        </a:lnTo>
                        <a:lnTo>
                          <a:pt x="183" y="188"/>
                        </a:lnTo>
                        <a:lnTo>
                          <a:pt x="170" y="200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7" name="Freeform 25">
                    <a:extLst>
                      <a:ext uri="{FF2B5EF4-FFF2-40B4-BE49-F238E27FC236}">
                        <a16:creationId xmlns:a16="http://schemas.microsoft.com/office/drawing/2014/main" id="{C6507424-F0D7-4F92-9445-81641AD024F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59013" y="3622675"/>
                    <a:ext cx="1404938" cy="1027113"/>
                  </a:xfrm>
                  <a:custGeom>
                    <a:avLst/>
                    <a:gdLst>
                      <a:gd name="T0" fmla="*/ 862 w 862"/>
                      <a:gd name="T1" fmla="*/ 187 h 630"/>
                      <a:gd name="T2" fmla="*/ 810 w 862"/>
                      <a:gd name="T3" fmla="*/ 387 h 630"/>
                      <a:gd name="T4" fmla="*/ 765 w 862"/>
                      <a:gd name="T5" fmla="*/ 459 h 630"/>
                      <a:gd name="T6" fmla="*/ 709 w 862"/>
                      <a:gd name="T7" fmla="*/ 520 h 630"/>
                      <a:gd name="T8" fmla="*/ 665 w 862"/>
                      <a:gd name="T9" fmla="*/ 553 h 630"/>
                      <a:gd name="T10" fmla="*/ 533 w 862"/>
                      <a:gd name="T11" fmla="*/ 610 h 630"/>
                      <a:gd name="T12" fmla="*/ 442 w 862"/>
                      <a:gd name="T13" fmla="*/ 627 h 630"/>
                      <a:gd name="T14" fmla="*/ 270 w 862"/>
                      <a:gd name="T15" fmla="*/ 620 h 630"/>
                      <a:gd name="T16" fmla="*/ 119 w 862"/>
                      <a:gd name="T17" fmla="*/ 584 h 630"/>
                      <a:gd name="T18" fmla="*/ 0 w 862"/>
                      <a:gd name="T19" fmla="*/ 538 h 630"/>
                      <a:gd name="T20" fmla="*/ 16 w 862"/>
                      <a:gd name="T21" fmla="*/ 193 h 630"/>
                      <a:gd name="T22" fmla="*/ 434 w 862"/>
                      <a:gd name="T23" fmla="*/ 202 h 630"/>
                      <a:gd name="T24" fmla="*/ 529 w 862"/>
                      <a:gd name="T25" fmla="*/ 82 h 630"/>
                      <a:gd name="T26" fmla="*/ 550 w 862"/>
                      <a:gd name="T27" fmla="*/ 0 h 630"/>
                      <a:gd name="T28" fmla="*/ 862 w 862"/>
                      <a:gd name="T29" fmla="*/ 187 h 630"/>
                      <a:gd name="T30" fmla="*/ 862 w 862"/>
                      <a:gd name="T31" fmla="*/ 187 h 6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862" h="630">
                        <a:moveTo>
                          <a:pt x="862" y="187"/>
                        </a:moveTo>
                        <a:cubicBezTo>
                          <a:pt x="856" y="257"/>
                          <a:pt x="840" y="321"/>
                          <a:pt x="810" y="387"/>
                        </a:cubicBezTo>
                        <a:cubicBezTo>
                          <a:pt x="797" y="412"/>
                          <a:pt x="782" y="436"/>
                          <a:pt x="765" y="459"/>
                        </a:cubicBezTo>
                        <a:cubicBezTo>
                          <a:pt x="748" y="481"/>
                          <a:pt x="729" y="501"/>
                          <a:pt x="709" y="520"/>
                        </a:cubicBezTo>
                        <a:cubicBezTo>
                          <a:pt x="665" y="553"/>
                          <a:pt x="665" y="553"/>
                          <a:pt x="665" y="553"/>
                        </a:cubicBezTo>
                        <a:cubicBezTo>
                          <a:pt x="622" y="579"/>
                          <a:pt x="581" y="596"/>
                          <a:pt x="533" y="610"/>
                        </a:cubicBezTo>
                        <a:cubicBezTo>
                          <a:pt x="503" y="618"/>
                          <a:pt x="473" y="623"/>
                          <a:pt x="442" y="627"/>
                        </a:cubicBezTo>
                        <a:cubicBezTo>
                          <a:pt x="383" y="630"/>
                          <a:pt x="328" y="628"/>
                          <a:pt x="270" y="620"/>
                        </a:cubicBezTo>
                        <a:cubicBezTo>
                          <a:pt x="218" y="612"/>
                          <a:pt x="169" y="599"/>
                          <a:pt x="119" y="584"/>
                        </a:cubicBezTo>
                        <a:cubicBezTo>
                          <a:pt x="78" y="570"/>
                          <a:pt x="39" y="554"/>
                          <a:pt x="0" y="538"/>
                        </a:cubicBezTo>
                        <a:cubicBezTo>
                          <a:pt x="16" y="193"/>
                          <a:pt x="16" y="193"/>
                          <a:pt x="16" y="193"/>
                        </a:cubicBezTo>
                        <a:cubicBezTo>
                          <a:pt x="148" y="251"/>
                          <a:pt x="304" y="285"/>
                          <a:pt x="434" y="202"/>
                        </a:cubicBezTo>
                        <a:cubicBezTo>
                          <a:pt x="479" y="170"/>
                          <a:pt x="507" y="132"/>
                          <a:pt x="529" y="82"/>
                        </a:cubicBezTo>
                        <a:cubicBezTo>
                          <a:pt x="539" y="54"/>
                          <a:pt x="546" y="28"/>
                          <a:pt x="550" y="0"/>
                        </a:cubicBezTo>
                        <a:cubicBezTo>
                          <a:pt x="862" y="187"/>
                          <a:pt x="862" y="187"/>
                          <a:pt x="862" y="187"/>
                        </a:cubicBezTo>
                        <a:cubicBezTo>
                          <a:pt x="862" y="187"/>
                          <a:pt x="862" y="187"/>
                          <a:pt x="862" y="187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</p:grpSp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D3FA16CF-05AC-4628-BA24-7FC5953494F9}"/>
                    </a:ext>
                  </a:extLst>
                </p:cNvPr>
                <p:cNvGrpSpPr/>
                <p:nvPr/>
              </p:nvGrpSpPr>
              <p:grpSpPr>
                <a:xfrm>
                  <a:off x="4338217" y="2521297"/>
                  <a:ext cx="1488836" cy="2332790"/>
                  <a:chOff x="530226" y="2037510"/>
                  <a:chExt cx="1685925" cy="2641600"/>
                </a:xfrm>
              </p:grpSpPr>
              <p:sp>
                <p:nvSpPr>
                  <p:cNvPr id="42" name="Freeform 26">
                    <a:extLst>
                      <a:ext uri="{FF2B5EF4-FFF2-40B4-BE49-F238E27FC236}">
                        <a16:creationId xmlns:a16="http://schemas.microsoft.com/office/drawing/2014/main" id="{1F5522B5-CA06-406D-8F54-929C3E44FA7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30226" y="2037510"/>
                    <a:ext cx="1655763" cy="2641600"/>
                  </a:xfrm>
                  <a:custGeom>
                    <a:avLst/>
                    <a:gdLst>
                      <a:gd name="T0" fmla="*/ 867 w 1043"/>
                      <a:gd name="T1" fmla="*/ 1661 h 1664"/>
                      <a:gd name="T2" fmla="*/ 849 w 1043"/>
                      <a:gd name="T3" fmla="*/ 1653 h 1664"/>
                      <a:gd name="T4" fmla="*/ 830 w 1043"/>
                      <a:gd name="T5" fmla="*/ 1643 h 1664"/>
                      <a:gd name="T6" fmla="*/ 813 w 1043"/>
                      <a:gd name="T7" fmla="*/ 1633 h 1664"/>
                      <a:gd name="T8" fmla="*/ 795 w 1043"/>
                      <a:gd name="T9" fmla="*/ 1623 h 1664"/>
                      <a:gd name="T10" fmla="*/ 776 w 1043"/>
                      <a:gd name="T11" fmla="*/ 1613 h 1664"/>
                      <a:gd name="T12" fmla="*/ 758 w 1043"/>
                      <a:gd name="T13" fmla="*/ 1602 h 1664"/>
                      <a:gd name="T14" fmla="*/ 739 w 1043"/>
                      <a:gd name="T15" fmla="*/ 1590 h 1664"/>
                      <a:gd name="T16" fmla="*/ 722 w 1043"/>
                      <a:gd name="T17" fmla="*/ 1578 h 1664"/>
                      <a:gd name="T18" fmla="*/ 703 w 1043"/>
                      <a:gd name="T19" fmla="*/ 1567 h 1664"/>
                      <a:gd name="T20" fmla="*/ 685 w 1043"/>
                      <a:gd name="T21" fmla="*/ 1554 h 1664"/>
                      <a:gd name="T22" fmla="*/ 583 w 1043"/>
                      <a:gd name="T23" fmla="*/ 1478 h 1664"/>
                      <a:gd name="T24" fmla="*/ 451 w 1043"/>
                      <a:gd name="T25" fmla="*/ 1360 h 1664"/>
                      <a:gd name="T26" fmla="*/ 333 w 1043"/>
                      <a:gd name="T27" fmla="*/ 1231 h 1664"/>
                      <a:gd name="T28" fmla="*/ 231 w 1043"/>
                      <a:gd name="T29" fmla="*/ 1093 h 1664"/>
                      <a:gd name="T30" fmla="*/ 146 w 1043"/>
                      <a:gd name="T31" fmla="*/ 951 h 1664"/>
                      <a:gd name="T32" fmla="*/ 79 w 1043"/>
                      <a:gd name="T33" fmla="*/ 806 h 1664"/>
                      <a:gd name="T34" fmla="*/ 32 w 1043"/>
                      <a:gd name="T35" fmla="*/ 664 h 1664"/>
                      <a:gd name="T36" fmla="*/ 6 w 1043"/>
                      <a:gd name="T37" fmla="*/ 526 h 1664"/>
                      <a:gd name="T38" fmla="*/ 1 w 1043"/>
                      <a:gd name="T39" fmla="*/ 395 h 1664"/>
                      <a:gd name="T40" fmla="*/ 16 w 1043"/>
                      <a:gd name="T41" fmla="*/ 274 h 1664"/>
                      <a:gd name="T42" fmla="*/ 54 w 1043"/>
                      <a:gd name="T43" fmla="*/ 165 h 1664"/>
                      <a:gd name="T44" fmla="*/ 201 w 1043"/>
                      <a:gd name="T45" fmla="*/ 68 h 1664"/>
                      <a:gd name="T46" fmla="*/ 180 w 1043"/>
                      <a:gd name="T47" fmla="*/ 186 h 1664"/>
                      <a:gd name="T48" fmla="*/ 179 w 1043"/>
                      <a:gd name="T49" fmla="*/ 316 h 1664"/>
                      <a:gd name="T50" fmla="*/ 200 w 1043"/>
                      <a:gd name="T51" fmla="*/ 453 h 1664"/>
                      <a:gd name="T52" fmla="*/ 242 w 1043"/>
                      <a:gd name="T53" fmla="*/ 597 h 1664"/>
                      <a:gd name="T54" fmla="*/ 305 w 1043"/>
                      <a:gd name="T55" fmla="*/ 743 h 1664"/>
                      <a:gd name="T56" fmla="*/ 387 w 1043"/>
                      <a:gd name="T57" fmla="*/ 888 h 1664"/>
                      <a:gd name="T58" fmla="*/ 457 w 1043"/>
                      <a:gd name="T59" fmla="*/ 1033 h 1664"/>
                      <a:gd name="T60" fmla="*/ 573 w 1043"/>
                      <a:gd name="T61" fmla="*/ 1168 h 1664"/>
                      <a:gd name="T62" fmla="*/ 703 w 1043"/>
                      <a:gd name="T63" fmla="*/ 1294 h 1664"/>
                      <a:gd name="T64" fmla="*/ 847 w 1043"/>
                      <a:gd name="T65" fmla="*/ 1407 h 1664"/>
                      <a:gd name="T66" fmla="*/ 865 w 1043"/>
                      <a:gd name="T67" fmla="*/ 1419 h 1664"/>
                      <a:gd name="T68" fmla="*/ 884 w 1043"/>
                      <a:gd name="T69" fmla="*/ 1431 h 1664"/>
                      <a:gd name="T70" fmla="*/ 902 w 1043"/>
                      <a:gd name="T71" fmla="*/ 1444 h 1664"/>
                      <a:gd name="T72" fmla="*/ 921 w 1043"/>
                      <a:gd name="T73" fmla="*/ 1456 h 1664"/>
                      <a:gd name="T74" fmla="*/ 939 w 1043"/>
                      <a:gd name="T75" fmla="*/ 1467 h 1664"/>
                      <a:gd name="T76" fmla="*/ 958 w 1043"/>
                      <a:gd name="T77" fmla="*/ 1478 h 1664"/>
                      <a:gd name="T78" fmla="*/ 976 w 1043"/>
                      <a:gd name="T79" fmla="*/ 1489 h 1664"/>
                      <a:gd name="T80" fmla="*/ 995 w 1043"/>
                      <a:gd name="T81" fmla="*/ 1499 h 1664"/>
                      <a:gd name="T82" fmla="*/ 1013 w 1043"/>
                      <a:gd name="T83" fmla="*/ 1509 h 1664"/>
                      <a:gd name="T84" fmla="*/ 1032 w 1043"/>
                      <a:gd name="T85" fmla="*/ 1518 h 1664"/>
                      <a:gd name="connsiteX0" fmla="*/ 10000 w 10000"/>
                      <a:gd name="connsiteY0" fmla="*/ 9165 h 10000"/>
                      <a:gd name="connsiteX1" fmla="*/ 8370 w 10000"/>
                      <a:gd name="connsiteY1" fmla="*/ 10000 h 10000"/>
                      <a:gd name="connsiteX2" fmla="*/ 8313 w 10000"/>
                      <a:gd name="connsiteY2" fmla="*/ 9982 h 10000"/>
                      <a:gd name="connsiteX3" fmla="*/ 8255 w 10000"/>
                      <a:gd name="connsiteY3" fmla="*/ 9970 h 10000"/>
                      <a:gd name="connsiteX4" fmla="*/ 8198 w 10000"/>
                      <a:gd name="connsiteY4" fmla="*/ 9946 h 10000"/>
                      <a:gd name="connsiteX5" fmla="*/ 8140 w 10000"/>
                      <a:gd name="connsiteY5" fmla="*/ 9934 h 10000"/>
                      <a:gd name="connsiteX6" fmla="*/ 8082 w 10000"/>
                      <a:gd name="connsiteY6" fmla="*/ 9916 h 10000"/>
                      <a:gd name="connsiteX7" fmla="*/ 8025 w 10000"/>
                      <a:gd name="connsiteY7" fmla="*/ 9892 h 10000"/>
                      <a:gd name="connsiteX8" fmla="*/ 7958 w 10000"/>
                      <a:gd name="connsiteY8" fmla="*/ 9874 h 10000"/>
                      <a:gd name="connsiteX9" fmla="*/ 7900 w 10000"/>
                      <a:gd name="connsiteY9" fmla="*/ 9856 h 10000"/>
                      <a:gd name="connsiteX10" fmla="*/ 7843 w 10000"/>
                      <a:gd name="connsiteY10" fmla="*/ 9832 h 10000"/>
                      <a:gd name="connsiteX11" fmla="*/ 7795 w 10000"/>
                      <a:gd name="connsiteY11" fmla="*/ 9814 h 10000"/>
                      <a:gd name="connsiteX12" fmla="*/ 7728 w 10000"/>
                      <a:gd name="connsiteY12" fmla="*/ 9796 h 10000"/>
                      <a:gd name="connsiteX13" fmla="*/ 7680 w 10000"/>
                      <a:gd name="connsiteY13" fmla="*/ 9772 h 10000"/>
                      <a:gd name="connsiteX14" fmla="*/ 7622 w 10000"/>
                      <a:gd name="connsiteY14" fmla="*/ 9754 h 10000"/>
                      <a:gd name="connsiteX15" fmla="*/ 7555 w 10000"/>
                      <a:gd name="connsiteY15" fmla="*/ 9730 h 10000"/>
                      <a:gd name="connsiteX16" fmla="*/ 7498 w 10000"/>
                      <a:gd name="connsiteY16" fmla="*/ 9712 h 10000"/>
                      <a:gd name="connsiteX17" fmla="*/ 7440 w 10000"/>
                      <a:gd name="connsiteY17" fmla="*/ 9694 h 10000"/>
                      <a:gd name="connsiteX18" fmla="*/ 7383 w 10000"/>
                      <a:gd name="connsiteY18" fmla="*/ 9669 h 10000"/>
                      <a:gd name="connsiteX19" fmla="*/ 7325 w 10000"/>
                      <a:gd name="connsiteY19" fmla="*/ 9651 h 10000"/>
                      <a:gd name="connsiteX20" fmla="*/ 7267 w 10000"/>
                      <a:gd name="connsiteY20" fmla="*/ 9627 h 10000"/>
                      <a:gd name="connsiteX21" fmla="*/ 7200 w 10000"/>
                      <a:gd name="connsiteY21" fmla="*/ 9609 h 10000"/>
                      <a:gd name="connsiteX22" fmla="*/ 7143 w 10000"/>
                      <a:gd name="connsiteY22" fmla="*/ 9579 h 10000"/>
                      <a:gd name="connsiteX23" fmla="*/ 7085 w 10000"/>
                      <a:gd name="connsiteY23" fmla="*/ 9555 h 10000"/>
                      <a:gd name="connsiteX24" fmla="*/ 7028 w 10000"/>
                      <a:gd name="connsiteY24" fmla="*/ 9531 h 10000"/>
                      <a:gd name="connsiteX25" fmla="*/ 6980 w 10000"/>
                      <a:gd name="connsiteY25" fmla="*/ 9513 h 10000"/>
                      <a:gd name="connsiteX26" fmla="*/ 6922 w 10000"/>
                      <a:gd name="connsiteY26" fmla="*/ 9483 h 10000"/>
                      <a:gd name="connsiteX27" fmla="*/ 6855 w 10000"/>
                      <a:gd name="connsiteY27" fmla="*/ 9465 h 10000"/>
                      <a:gd name="connsiteX28" fmla="*/ 6798 w 10000"/>
                      <a:gd name="connsiteY28" fmla="*/ 9441 h 10000"/>
                      <a:gd name="connsiteX29" fmla="*/ 6740 w 10000"/>
                      <a:gd name="connsiteY29" fmla="*/ 9417 h 10000"/>
                      <a:gd name="connsiteX30" fmla="*/ 6683 w 10000"/>
                      <a:gd name="connsiteY30" fmla="*/ 9393 h 10000"/>
                      <a:gd name="connsiteX31" fmla="*/ 6625 w 10000"/>
                      <a:gd name="connsiteY31" fmla="*/ 9363 h 10000"/>
                      <a:gd name="connsiteX32" fmla="*/ 6568 w 10000"/>
                      <a:gd name="connsiteY32" fmla="*/ 9339 h 10000"/>
                      <a:gd name="connsiteX33" fmla="*/ 6510 w 10000"/>
                      <a:gd name="connsiteY33" fmla="*/ 9315 h 10000"/>
                      <a:gd name="connsiteX34" fmla="*/ 6040 w 10000"/>
                      <a:gd name="connsiteY34" fmla="*/ 9105 h 10000"/>
                      <a:gd name="connsiteX35" fmla="*/ 5590 w 10000"/>
                      <a:gd name="connsiteY35" fmla="*/ 8882 h 10000"/>
                      <a:gd name="connsiteX36" fmla="*/ 5158 w 10000"/>
                      <a:gd name="connsiteY36" fmla="*/ 8654 h 10000"/>
                      <a:gd name="connsiteX37" fmla="*/ 4736 w 10000"/>
                      <a:gd name="connsiteY37" fmla="*/ 8419 h 10000"/>
                      <a:gd name="connsiteX38" fmla="*/ 4324 w 10000"/>
                      <a:gd name="connsiteY38" fmla="*/ 8173 h 10000"/>
                      <a:gd name="connsiteX39" fmla="*/ 3931 w 10000"/>
                      <a:gd name="connsiteY39" fmla="*/ 7921 h 10000"/>
                      <a:gd name="connsiteX40" fmla="*/ 3557 w 10000"/>
                      <a:gd name="connsiteY40" fmla="*/ 7662 h 10000"/>
                      <a:gd name="connsiteX41" fmla="*/ 3193 w 10000"/>
                      <a:gd name="connsiteY41" fmla="*/ 7398 h 10000"/>
                      <a:gd name="connsiteX42" fmla="*/ 2848 w 10000"/>
                      <a:gd name="connsiteY42" fmla="*/ 7127 h 10000"/>
                      <a:gd name="connsiteX43" fmla="*/ 2522 w 10000"/>
                      <a:gd name="connsiteY43" fmla="*/ 6851 h 10000"/>
                      <a:gd name="connsiteX44" fmla="*/ 2215 w 10000"/>
                      <a:gd name="connsiteY44" fmla="*/ 6569 h 10000"/>
                      <a:gd name="connsiteX45" fmla="*/ 1918 w 10000"/>
                      <a:gd name="connsiteY45" fmla="*/ 6286 h 10000"/>
                      <a:gd name="connsiteX46" fmla="*/ 1640 w 10000"/>
                      <a:gd name="connsiteY46" fmla="*/ 5998 h 10000"/>
                      <a:gd name="connsiteX47" fmla="*/ 1400 w 10000"/>
                      <a:gd name="connsiteY47" fmla="*/ 5715 h 10000"/>
                      <a:gd name="connsiteX48" fmla="*/ 1160 w 10000"/>
                      <a:gd name="connsiteY48" fmla="*/ 5427 h 10000"/>
                      <a:gd name="connsiteX49" fmla="*/ 949 w 10000"/>
                      <a:gd name="connsiteY49" fmla="*/ 5132 h 10000"/>
                      <a:gd name="connsiteX50" fmla="*/ 757 w 10000"/>
                      <a:gd name="connsiteY50" fmla="*/ 4844 h 10000"/>
                      <a:gd name="connsiteX51" fmla="*/ 594 w 10000"/>
                      <a:gd name="connsiteY51" fmla="*/ 4561 h 10000"/>
                      <a:gd name="connsiteX52" fmla="*/ 431 w 10000"/>
                      <a:gd name="connsiteY52" fmla="*/ 4279 h 10000"/>
                      <a:gd name="connsiteX53" fmla="*/ 307 w 10000"/>
                      <a:gd name="connsiteY53" fmla="*/ 3990 h 10000"/>
                      <a:gd name="connsiteX54" fmla="*/ 211 w 10000"/>
                      <a:gd name="connsiteY54" fmla="*/ 3708 h 10000"/>
                      <a:gd name="connsiteX55" fmla="*/ 115 w 10000"/>
                      <a:gd name="connsiteY55" fmla="*/ 3431 h 10000"/>
                      <a:gd name="connsiteX56" fmla="*/ 58 w 10000"/>
                      <a:gd name="connsiteY56" fmla="*/ 3161 h 10000"/>
                      <a:gd name="connsiteX57" fmla="*/ 19 w 10000"/>
                      <a:gd name="connsiteY57" fmla="*/ 2891 h 10000"/>
                      <a:gd name="connsiteX58" fmla="*/ 0 w 10000"/>
                      <a:gd name="connsiteY58" fmla="*/ 2632 h 10000"/>
                      <a:gd name="connsiteX59" fmla="*/ 10 w 10000"/>
                      <a:gd name="connsiteY59" fmla="*/ 2374 h 10000"/>
                      <a:gd name="connsiteX60" fmla="*/ 29 w 10000"/>
                      <a:gd name="connsiteY60" fmla="*/ 2127 h 10000"/>
                      <a:gd name="connsiteX61" fmla="*/ 86 w 10000"/>
                      <a:gd name="connsiteY61" fmla="*/ 1881 h 10000"/>
                      <a:gd name="connsiteX62" fmla="*/ 153 w 10000"/>
                      <a:gd name="connsiteY62" fmla="*/ 1647 h 10000"/>
                      <a:gd name="connsiteX63" fmla="*/ 259 w 10000"/>
                      <a:gd name="connsiteY63" fmla="*/ 1418 h 10000"/>
                      <a:gd name="connsiteX64" fmla="*/ 374 w 10000"/>
                      <a:gd name="connsiteY64" fmla="*/ 1202 h 10000"/>
                      <a:gd name="connsiteX65" fmla="*/ 518 w 10000"/>
                      <a:gd name="connsiteY65" fmla="*/ 992 h 10000"/>
                      <a:gd name="connsiteX66" fmla="*/ 1908 w 10000"/>
                      <a:gd name="connsiteY66" fmla="*/ 0 h 10000"/>
                      <a:gd name="connsiteX67" fmla="*/ 2051 w 10000"/>
                      <a:gd name="connsiteY67" fmla="*/ 214 h 10000"/>
                      <a:gd name="connsiteX68" fmla="*/ 1927 w 10000"/>
                      <a:gd name="connsiteY68" fmla="*/ 409 h 10000"/>
                      <a:gd name="connsiteX69" fmla="*/ 1841 w 10000"/>
                      <a:gd name="connsiteY69" fmla="*/ 637 h 10000"/>
                      <a:gd name="connsiteX70" fmla="*/ 1774 w 10000"/>
                      <a:gd name="connsiteY70" fmla="*/ 877 h 10000"/>
                      <a:gd name="connsiteX71" fmla="*/ 1726 w 10000"/>
                      <a:gd name="connsiteY71" fmla="*/ 1118 h 10000"/>
                      <a:gd name="connsiteX72" fmla="*/ 1697 w 10000"/>
                      <a:gd name="connsiteY72" fmla="*/ 1370 h 10000"/>
                      <a:gd name="connsiteX73" fmla="*/ 1697 w 10000"/>
                      <a:gd name="connsiteY73" fmla="*/ 1635 h 10000"/>
                      <a:gd name="connsiteX74" fmla="*/ 1716 w 10000"/>
                      <a:gd name="connsiteY74" fmla="*/ 1899 h 10000"/>
                      <a:gd name="connsiteX75" fmla="*/ 1764 w 10000"/>
                      <a:gd name="connsiteY75" fmla="*/ 2169 h 10000"/>
                      <a:gd name="connsiteX76" fmla="*/ 1831 w 10000"/>
                      <a:gd name="connsiteY76" fmla="*/ 2440 h 10000"/>
                      <a:gd name="connsiteX77" fmla="*/ 1918 w 10000"/>
                      <a:gd name="connsiteY77" fmla="*/ 2722 h 10000"/>
                      <a:gd name="connsiteX78" fmla="*/ 2042 w 10000"/>
                      <a:gd name="connsiteY78" fmla="*/ 3005 h 10000"/>
                      <a:gd name="connsiteX79" fmla="*/ 2167 w 10000"/>
                      <a:gd name="connsiteY79" fmla="*/ 3299 h 10000"/>
                      <a:gd name="connsiteX80" fmla="*/ 2320 w 10000"/>
                      <a:gd name="connsiteY80" fmla="*/ 3588 h 10000"/>
                      <a:gd name="connsiteX81" fmla="*/ 2502 w 10000"/>
                      <a:gd name="connsiteY81" fmla="*/ 3876 h 10000"/>
                      <a:gd name="connsiteX82" fmla="*/ 2704 w 10000"/>
                      <a:gd name="connsiteY82" fmla="*/ 4171 h 10000"/>
                      <a:gd name="connsiteX83" fmla="*/ 2924 w 10000"/>
                      <a:gd name="connsiteY83" fmla="*/ 4465 h 10000"/>
                      <a:gd name="connsiteX84" fmla="*/ 3164 w 10000"/>
                      <a:gd name="connsiteY84" fmla="*/ 4754 h 10000"/>
                      <a:gd name="connsiteX85" fmla="*/ 3423 w 10000"/>
                      <a:gd name="connsiteY85" fmla="*/ 5048 h 10000"/>
                      <a:gd name="connsiteX86" fmla="*/ 3710 w 10000"/>
                      <a:gd name="connsiteY86" fmla="*/ 5337 h 10000"/>
                      <a:gd name="connsiteX87" fmla="*/ 3730 w 10000"/>
                      <a:gd name="connsiteY87" fmla="*/ 5643 h 10000"/>
                      <a:gd name="connsiteX88" fmla="*/ 4046 w 10000"/>
                      <a:gd name="connsiteY88" fmla="*/ 5931 h 10000"/>
                      <a:gd name="connsiteX89" fmla="*/ 4382 w 10000"/>
                      <a:gd name="connsiteY89" fmla="*/ 6208 h 10000"/>
                      <a:gd name="connsiteX90" fmla="*/ 4736 w 10000"/>
                      <a:gd name="connsiteY90" fmla="*/ 6484 h 10000"/>
                      <a:gd name="connsiteX91" fmla="*/ 5110 w 10000"/>
                      <a:gd name="connsiteY91" fmla="*/ 6755 h 10000"/>
                      <a:gd name="connsiteX92" fmla="*/ 5494 w 10000"/>
                      <a:gd name="connsiteY92" fmla="*/ 7019 h 10000"/>
                      <a:gd name="connsiteX93" fmla="*/ 5896 w 10000"/>
                      <a:gd name="connsiteY93" fmla="*/ 7284 h 10000"/>
                      <a:gd name="connsiteX94" fmla="*/ 6318 w 10000"/>
                      <a:gd name="connsiteY94" fmla="*/ 7536 h 10000"/>
                      <a:gd name="connsiteX95" fmla="*/ 6740 w 10000"/>
                      <a:gd name="connsiteY95" fmla="*/ 7776 h 10000"/>
                      <a:gd name="connsiteX96" fmla="*/ 7191 w 10000"/>
                      <a:gd name="connsiteY96" fmla="*/ 8011 h 10000"/>
                      <a:gd name="connsiteX97" fmla="*/ 7651 w 10000"/>
                      <a:gd name="connsiteY97" fmla="*/ 8239 h 10000"/>
                      <a:gd name="connsiteX98" fmla="*/ 8121 w 10000"/>
                      <a:gd name="connsiteY98" fmla="*/ 8456 h 10000"/>
                      <a:gd name="connsiteX99" fmla="*/ 8178 w 10000"/>
                      <a:gd name="connsiteY99" fmla="*/ 8480 h 10000"/>
                      <a:gd name="connsiteX100" fmla="*/ 8236 w 10000"/>
                      <a:gd name="connsiteY100" fmla="*/ 8504 h 10000"/>
                      <a:gd name="connsiteX101" fmla="*/ 8293 w 10000"/>
                      <a:gd name="connsiteY101" fmla="*/ 8528 h 10000"/>
                      <a:gd name="connsiteX102" fmla="*/ 8351 w 10000"/>
                      <a:gd name="connsiteY102" fmla="*/ 8558 h 10000"/>
                      <a:gd name="connsiteX103" fmla="*/ 8418 w 10000"/>
                      <a:gd name="connsiteY103" fmla="*/ 8576 h 10000"/>
                      <a:gd name="connsiteX104" fmla="*/ 8476 w 10000"/>
                      <a:gd name="connsiteY104" fmla="*/ 8600 h 10000"/>
                      <a:gd name="connsiteX105" fmla="*/ 8533 w 10000"/>
                      <a:gd name="connsiteY105" fmla="*/ 8624 h 10000"/>
                      <a:gd name="connsiteX106" fmla="*/ 8591 w 10000"/>
                      <a:gd name="connsiteY106" fmla="*/ 8648 h 10000"/>
                      <a:gd name="connsiteX107" fmla="*/ 8648 w 10000"/>
                      <a:gd name="connsiteY107" fmla="*/ 8678 h 10000"/>
                      <a:gd name="connsiteX108" fmla="*/ 8706 w 10000"/>
                      <a:gd name="connsiteY108" fmla="*/ 8702 h 10000"/>
                      <a:gd name="connsiteX109" fmla="*/ 8773 w 10000"/>
                      <a:gd name="connsiteY109" fmla="*/ 8726 h 10000"/>
                      <a:gd name="connsiteX110" fmla="*/ 8830 w 10000"/>
                      <a:gd name="connsiteY110" fmla="*/ 8750 h 10000"/>
                      <a:gd name="connsiteX111" fmla="*/ 8888 w 10000"/>
                      <a:gd name="connsiteY111" fmla="*/ 8768 h 10000"/>
                      <a:gd name="connsiteX112" fmla="*/ 8945 w 10000"/>
                      <a:gd name="connsiteY112" fmla="*/ 8792 h 10000"/>
                      <a:gd name="connsiteX113" fmla="*/ 9003 w 10000"/>
                      <a:gd name="connsiteY113" fmla="*/ 8816 h 10000"/>
                      <a:gd name="connsiteX114" fmla="*/ 9060 w 10000"/>
                      <a:gd name="connsiteY114" fmla="*/ 8834 h 10000"/>
                      <a:gd name="connsiteX115" fmla="*/ 9128 w 10000"/>
                      <a:gd name="connsiteY115" fmla="*/ 8858 h 10000"/>
                      <a:gd name="connsiteX116" fmla="*/ 9185 w 10000"/>
                      <a:gd name="connsiteY116" fmla="*/ 8882 h 10000"/>
                      <a:gd name="connsiteX117" fmla="*/ 9243 w 10000"/>
                      <a:gd name="connsiteY117" fmla="*/ 8906 h 10000"/>
                      <a:gd name="connsiteX118" fmla="*/ 9300 w 10000"/>
                      <a:gd name="connsiteY118" fmla="*/ 8930 h 10000"/>
                      <a:gd name="connsiteX119" fmla="*/ 9358 w 10000"/>
                      <a:gd name="connsiteY119" fmla="*/ 8948 h 10000"/>
                      <a:gd name="connsiteX120" fmla="*/ 9415 w 10000"/>
                      <a:gd name="connsiteY120" fmla="*/ 8966 h 10000"/>
                      <a:gd name="connsiteX121" fmla="*/ 9482 w 10000"/>
                      <a:gd name="connsiteY121" fmla="*/ 8984 h 10000"/>
                      <a:gd name="connsiteX122" fmla="*/ 9540 w 10000"/>
                      <a:gd name="connsiteY122" fmla="*/ 9008 h 10000"/>
                      <a:gd name="connsiteX123" fmla="*/ 9597 w 10000"/>
                      <a:gd name="connsiteY123" fmla="*/ 9026 h 10000"/>
                      <a:gd name="connsiteX124" fmla="*/ 9645 w 10000"/>
                      <a:gd name="connsiteY124" fmla="*/ 9044 h 10000"/>
                      <a:gd name="connsiteX125" fmla="*/ 9712 w 10000"/>
                      <a:gd name="connsiteY125" fmla="*/ 9069 h 10000"/>
                      <a:gd name="connsiteX126" fmla="*/ 9770 w 10000"/>
                      <a:gd name="connsiteY126" fmla="*/ 9087 h 10000"/>
                      <a:gd name="connsiteX127" fmla="*/ 9827 w 10000"/>
                      <a:gd name="connsiteY127" fmla="*/ 9105 h 10000"/>
                      <a:gd name="connsiteX128" fmla="*/ 9895 w 10000"/>
                      <a:gd name="connsiteY128" fmla="*/ 9123 h 10000"/>
                      <a:gd name="connsiteX129" fmla="*/ 9952 w 10000"/>
                      <a:gd name="connsiteY129" fmla="*/ 9147 h 10000"/>
                      <a:gd name="connsiteX130" fmla="*/ 10000 w 10000"/>
                      <a:gd name="connsiteY130" fmla="*/ 9165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</a:cxnLst>
                    <a:rect l="l" t="t" r="r" b="b"/>
                    <a:pathLst>
                      <a:path w="10000" h="10000">
                        <a:moveTo>
                          <a:pt x="10000" y="9165"/>
                        </a:moveTo>
                        <a:lnTo>
                          <a:pt x="8370" y="10000"/>
                        </a:lnTo>
                        <a:lnTo>
                          <a:pt x="8313" y="9982"/>
                        </a:lnTo>
                        <a:lnTo>
                          <a:pt x="8255" y="9970"/>
                        </a:lnTo>
                        <a:lnTo>
                          <a:pt x="8198" y="9946"/>
                        </a:lnTo>
                        <a:lnTo>
                          <a:pt x="8140" y="9934"/>
                        </a:lnTo>
                        <a:lnTo>
                          <a:pt x="8082" y="9916"/>
                        </a:lnTo>
                        <a:lnTo>
                          <a:pt x="8025" y="9892"/>
                        </a:lnTo>
                        <a:lnTo>
                          <a:pt x="7958" y="9874"/>
                        </a:lnTo>
                        <a:lnTo>
                          <a:pt x="7900" y="9856"/>
                        </a:lnTo>
                        <a:lnTo>
                          <a:pt x="7843" y="9832"/>
                        </a:lnTo>
                        <a:lnTo>
                          <a:pt x="7795" y="9814"/>
                        </a:lnTo>
                        <a:lnTo>
                          <a:pt x="7728" y="9796"/>
                        </a:lnTo>
                        <a:lnTo>
                          <a:pt x="7680" y="9772"/>
                        </a:lnTo>
                        <a:lnTo>
                          <a:pt x="7622" y="9754"/>
                        </a:lnTo>
                        <a:lnTo>
                          <a:pt x="7555" y="9730"/>
                        </a:lnTo>
                        <a:lnTo>
                          <a:pt x="7498" y="9712"/>
                        </a:lnTo>
                        <a:lnTo>
                          <a:pt x="7440" y="9694"/>
                        </a:lnTo>
                        <a:cubicBezTo>
                          <a:pt x="7421" y="9686"/>
                          <a:pt x="7402" y="9677"/>
                          <a:pt x="7383" y="9669"/>
                        </a:cubicBezTo>
                        <a:lnTo>
                          <a:pt x="7325" y="9651"/>
                        </a:lnTo>
                        <a:lnTo>
                          <a:pt x="7267" y="9627"/>
                        </a:lnTo>
                        <a:lnTo>
                          <a:pt x="7200" y="9609"/>
                        </a:lnTo>
                        <a:lnTo>
                          <a:pt x="7143" y="9579"/>
                        </a:lnTo>
                        <a:lnTo>
                          <a:pt x="7085" y="9555"/>
                        </a:lnTo>
                        <a:lnTo>
                          <a:pt x="7028" y="9531"/>
                        </a:lnTo>
                        <a:lnTo>
                          <a:pt x="6980" y="9513"/>
                        </a:lnTo>
                        <a:lnTo>
                          <a:pt x="6922" y="9483"/>
                        </a:lnTo>
                        <a:lnTo>
                          <a:pt x="6855" y="9465"/>
                        </a:lnTo>
                        <a:lnTo>
                          <a:pt x="6798" y="9441"/>
                        </a:lnTo>
                        <a:lnTo>
                          <a:pt x="6740" y="9417"/>
                        </a:lnTo>
                        <a:lnTo>
                          <a:pt x="6683" y="9393"/>
                        </a:lnTo>
                        <a:lnTo>
                          <a:pt x="6625" y="9363"/>
                        </a:lnTo>
                        <a:lnTo>
                          <a:pt x="6568" y="9339"/>
                        </a:lnTo>
                        <a:lnTo>
                          <a:pt x="6510" y="9315"/>
                        </a:lnTo>
                        <a:lnTo>
                          <a:pt x="6040" y="9105"/>
                        </a:lnTo>
                        <a:lnTo>
                          <a:pt x="5590" y="8882"/>
                        </a:lnTo>
                        <a:lnTo>
                          <a:pt x="5158" y="8654"/>
                        </a:lnTo>
                        <a:lnTo>
                          <a:pt x="4736" y="8419"/>
                        </a:lnTo>
                        <a:lnTo>
                          <a:pt x="4324" y="8173"/>
                        </a:lnTo>
                        <a:lnTo>
                          <a:pt x="3931" y="7921"/>
                        </a:lnTo>
                        <a:lnTo>
                          <a:pt x="3557" y="7662"/>
                        </a:lnTo>
                        <a:lnTo>
                          <a:pt x="3193" y="7398"/>
                        </a:lnTo>
                        <a:lnTo>
                          <a:pt x="2848" y="7127"/>
                        </a:lnTo>
                        <a:lnTo>
                          <a:pt x="2522" y="6851"/>
                        </a:lnTo>
                        <a:lnTo>
                          <a:pt x="2215" y="6569"/>
                        </a:lnTo>
                        <a:lnTo>
                          <a:pt x="1918" y="6286"/>
                        </a:lnTo>
                        <a:lnTo>
                          <a:pt x="1640" y="5998"/>
                        </a:lnTo>
                        <a:lnTo>
                          <a:pt x="1400" y="5715"/>
                        </a:lnTo>
                        <a:lnTo>
                          <a:pt x="1160" y="5427"/>
                        </a:lnTo>
                        <a:lnTo>
                          <a:pt x="949" y="5132"/>
                        </a:lnTo>
                        <a:lnTo>
                          <a:pt x="757" y="4844"/>
                        </a:lnTo>
                        <a:lnTo>
                          <a:pt x="594" y="4561"/>
                        </a:lnTo>
                        <a:cubicBezTo>
                          <a:pt x="540" y="4467"/>
                          <a:pt x="485" y="4373"/>
                          <a:pt x="431" y="4279"/>
                        </a:cubicBezTo>
                        <a:cubicBezTo>
                          <a:pt x="390" y="4183"/>
                          <a:pt x="348" y="4086"/>
                          <a:pt x="307" y="3990"/>
                        </a:cubicBezTo>
                        <a:lnTo>
                          <a:pt x="211" y="3708"/>
                        </a:lnTo>
                        <a:cubicBezTo>
                          <a:pt x="179" y="3616"/>
                          <a:pt x="147" y="3523"/>
                          <a:pt x="115" y="3431"/>
                        </a:cubicBezTo>
                        <a:lnTo>
                          <a:pt x="58" y="3161"/>
                        </a:lnTo>
                        <a:lnTo>
                          <a:pt x="19" y="2891"/>
                        </a:lnTo>
                        <a:cubicBezTo>
                          <a:pt x="13" y="2805"/>
                          <a:pt x="6" y="2718"/>
                          <a:pt x="0" y="2632"/>
                        </a:cubicBezTo>
                        <a:cubicBezTo>
                          <a:pt x="3" y="2546"/>
                          <a:pt x="7" y="2460"/>
                          <a:pt x="10" y="2374"/>
                        </a:cubicBezTo>
                        <a:cubicBezTo>
                          <a:pt x="16" y="2292"/>
                          <a:pt x="23" y="2209"/>
                          <a:pt x="29" y="2127"/>
                        </a:cubicBezTo>
                        <a:lnTo>
                          <a:pt x="86" y="1881"/>
                        </a:lnTo>
                        <a:cubicBezTo>
                          <a:pt x="108" y="1803"/>
                          <a:pt x="131" y="1725"/>
                          <a:pt x="153" y="1647"/>
                        </a:cubicBezTo>
                        <a:cubicBezTo>
                          <a:pt x="188" y="1571"/>
                          <a:pt x="224" y="1494"/>
                          <a:pt x="259" y="1418"/>
                        </a:cubicBezTo>
                        <a:cubicBezTo>
                          <a:pt x="297" y="1346"/>
                          <a:pt x="336" y="1274"/>
                          <a:pt x="374" y="1202"/>
                        </a:cubicBezTo>
                        <a:lnTo>
                          <a:pt x="518" y="992"/>
                        </a:lnTo>
                        <a:lnTo>
                          <a:pt x="1908" y="0"/>
                        </a:lnTo>
                        <a:cubicBezTo>
                          <a:pt x="1956" y="71"/>
                          <a:pt x="2003" y="143"/>
                          <a:pt x="2051" y="214"/>
                        </a:cubicBezTo>
                        <a:cubicBezTo>
                          <a:pt x="2010" y="279"/>
                          <a:pt x="1968" y="344"/>
                          <a:pt x="1927" y="409"/>
                        </a:cubicBezTo>
                        <a:cubicBezTo>
                          <a:pt x="1898" y="485"/>
                          <a:pt x="1870" y="561"/>
                          <a:pt x="1841" y="637"/>
                        </a:cubicBezTo>
                        <a:cubicBezTo>
                          <a:pt x="1819" y="717"/>
                          <a:pt x="1796" y="797"/>
                          <a:pt x="1774" y="877"/>
                        </a:cubicBezTo>
                        <a:cubicBezTo>
                          <a:pt x="1758" y="957"/>
                          <a:pt x="1742" y="1038"/>
                          <a:pt x="1726" y="1118"/>
                        </a:cubicBezTo>
                        <a:cubicBezTo>
                          <a:pt x="1716" y="1202"/>
                          <a:pt x="1707" y="1286"/>
                          <a:pt x="1697" y="1370"/>
                        </a:cubicBezTo>
                        <a:lnTo>
                          <a:pt x="1697" y="1635"/>
                        </a:lnTo>
                        <a:cubicBezTo>
                          <a:pt x="1703" y="1723"/>
                          <a:pt x="1710" y="1811"/>
                          <a:pt x="1716" y="1899"/>
                        </a:cubicBezTo>
                        <a:lnTo>
                          <a:pt x="1764" y="2169"/>
                        </a:lnTo>
                        <a:cubicBezTo>
                          <a:pt x="1786" y="2259"/>
                          <a:pt x="1809" y="2350"/>
                          <a:pt x="1831" y="2440"/>
                        </a:cubicBezTo>
                        <a:lnTo>
                          <a:pt x="1918" y="2722"/>
                        </a:lnTo>
                        <a:cubicBezTo>
                          <a:pt x="1959" y="2816"/>
                          <a:pt x="2001" y="2911"/>
                          <a:pt x="2042" y="3005"/>
                        </a:cubicBezTo>
                        <a:cubicBezTo>
                          <a:pt x="2084" y="3103"/>
                          <a:pt x="2125" y="3201"/>
                          <a:pt x="2167" y="3299"/>
                        </a:cubicBezTo>
                        <a:lnTo>
                          <a:pt x="2320" y="3588"/>
                        </a:lnTo>
                        <a:lnTo>
                          <a:pt x="2502" y="3876"/>
                        </a:lnTo>
                        <a:lnTo>
                          <a:pt x="2704" y="4171"/>
                        </a:lnTo>
                        <a:lnTo>
                          <a:pt x="2924" y="4465"/>
                        </a:lnTo>
                        <a:lnTo>
                          <a:pt x="3164" y="4754"/>
                        </a:lnTo>
                        <a:lnTo>
                          <a:pt x="3423" y="5048"/>
                        </a:lnTo>
                        <a:lnTo>
                          <a:pt x="3710" y="5337"/>
                        </a:lnTo>
                        <a:cubicBezTo>
                          <a:pt x="3717" y="5439"/>
                          <a:pt x="3723" y="5541"/>
                          <a:pt x="3730" y="5643"/>
                        </a:cubicBezTo>
                        <a:lnTo>
                          <a:pt x="4046" y="5931"/>
                        </a:lnTo>
                        <a:lnTo>
                          <a:pt x="4382" y="6208"/>
                        </a:lnTo>
                        <a:lnTo>
                          <a:pt x="4736" y="6484"/>
                        </a:lnTo>
                        <a:lnTo>
                          <a:pt x="5110" y="6755"/>
                        </a:lnTo>
                        <a:lnTo>
                          <a:pt x="5494" y="7019"/>
                        </a:lnTo>
                        <a:lnTo>
                          <a:pt x="5896" y="7284"/>
                        </a:lnTo>
                        <a:lnTo>
                          <a:pt x="6318" y="7536"/>
                        </a:lnTo>
                        <a:lnTo>
                          <a:pt x="6740" y="7776"/>
                        </a:lnTo>
                        <a:lnTo>
                          <a:pt x="7191" y="8011"/>
                        </a:lnTo>
                        <a:lnTo>
                          <a:pt x="7651" y="8239"/>
                        </a:lnTo>
                        <a:lnTo>
                          <a:pt x="8121" y="8456"/>
                        </a:lnTo>
                        <a:lnTo>
                          <a:pt x="8178" y="8480"/>
                        </a:lnTo>
                        <a:lnTo>
                          <a:pt x="8236" y="8504"/>
                        </a:lnTo>
                        <a:lnTo>
                          <a:pt x="8293" y="8528"/>
                        </a:lnTo>
                        <a:lnTo>
                          <a:pt x="8351" y="8558"/>
                        </a:lnTo>
                        <a:lnTo>
                          <a:pt x="8418" y="8576"/>
                        </a:lnTo>
                        <a:lnTo>
                          <a:pt x="8476" y="8600"/>
                        </a:lnTo>
                        <a:lnTo>
                          <a:pt x="8533" y="8624"/>
                        </a:lnTo>
                        <a:lnTo>
                          <a:pt x="8591" y="8648"/>
                        </a:lnTo>
                        <a:lnTo>
                          <a:pt x="8648" y="8678"/>
                        </a:lnTo>
                        <a:lnTo>
                          <a:pt x="8706" y="8702"/>
                        </a:lnTo>
                        <a:lnTo>
                          <a:pt x="8773" y="8726"/>
                        </a:lnTo>
                        <a:lnTo>
                          <a:pt x="8830" y="8750"/>
                        </a:lnTo>
                        <a:lnTo>
                          <a:pt x="8888" y="8768"/>
                        </a:lnTo>
                        <a:lnTo>
                          <a:pt x="8945" y="8792"/>
                        </a:lnTo>
                        <a:lnTo>
                          <a:pt x="9003" y="8816"/>
                        </a:lnTo>
                        <a:lnTo>
                          <a:pt x="9060" y="8834"/>
                        </a:lnTo>
                        <a:lnTo>
                          <a:pt x="9128" y="8858"/>
                        </a:lnTo>
                        <a:lnTo>
                          <a:pt x="9185" y="8882"/>
                        </a:lnTo>
                        <a:lnTo>
                          <a:pt x="9243" y="8906"/>
                        </a:lnTo>
                        <a:lnTo>
                          <a:pt x="9300" y="8930"/>
                        </a:lnTo>
                        <a:lnTo>
                          <a:pt x="9358" y="8948"/>
                        </a:lnTo>
                        <a:lnTo>
                          <a:pt x="9415" y="8966"/>
                        </a:lnTo>
                        <a:lnTo>
                          <a:pt x="9482" y="8984"/>
                        </a:lnTo>
                        <a:lnTo>
                          <a:pt x="9540" y="9008"/>
                        </a:lnTo>
                        <a:lnTo>
                          <a:pt x="9597" y="9026"/>
                        </a:lnTo>
                        <a:lnTo>
                          <a:pt x="9645" y="9044"/>
                        </a:lnTo>
                        <a:lnTo>
                          <a:pt x="9712" y="9069"/>
                        </a:lnTo>
                        <a:lnTo>
                          <a:pt x="9770" y="9087"/>
                        </a:lnTo>
                        <a:lnTo>
                          <a:pt x="9827" y="9105"/>
                        </a:lnTo>
                        <a:lnTo>
                          <a:pt x="9895" y="9123"/>
                        </a:lnTo>
                        <a:lnTo>
                          <a:pt x="9952" y="9147"/>
                        </a:lnTo>
                        <a:lnTo>
                          <a:pt x="10000" y="9165"/>
                        </a:lnTo>
                        <a:close/>
                      </a:path>
                    </a:pathLst>
                  </a:cu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/>
                  </a:p>
                </p:txBody>
              </p:sp>
              <p:sp>
                <p:nvSpPr>
                  <p:cNvPr id="43" name="Freeform 28">
                    <a:extLst>
                      <a:ext uri="{FF2B5EF4-FFF2-40B4-BE49-F238E27FC236}">
                        <a16:creationId xmlns:a16="http://schemas.microsoft.com/office/drawing/2014/main" id="{F79CBF04-E5D7-4B4A-8480-1CBFFA8AA18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65176" y="2044701"/>
                    <a:ext cx="1450975" cy="2420938"/>
                  </a:xfrm>
                  <a:custGeom>
                    <a:avLst/>
                    <a:gdLst>
                      <a:gd name="T0" fmla="*/ 872 w 891"/>
                      <a:gd name="T1" fmla="*/ 1486 h 1486"/>
                      <a:gd name="T2" fmla="*/ 891 w 891"/>
                      <a:gd name="T3" fmla="*/ 1141 h 1486"/>
                      <a:gd name="T4" fmla="*/ 851 w 891"/>
                      <a:gd name="T5" fmla="*/ 1119 h 1486"/>
                      <a:gd name="T6" fmla="*/ 388 w 891"/>
                      <a:gd name="T7" fmla="*/ 524 h 1486"/>
                      <a:gd name="T8" fmla="*/ 378 w 891"/>
                      <a:gd name="T9" fmla="*/ 294 h 1486"/>
                      <a:gd name="T10" fmla="*/ 391 w 891"/>
                      <a:gd name="T11" fmla="*/ 250 h 1486"/>
                      <a:gd name="T12" fmla="*/ 50 w 891"/>
                      <a:gd name="T13" fmla="*/ 0 h 1486"/>
                      <a:gd name="T14" fmla="*/ 36 w 891"/>
                      <a:gd name="T15" fmla="*/ 34 h 1486"/>
                      <a:gd name="T16" fmla="*/ 8 w 891"/>
                      <a:gd name="T17" fmla="*/ 145 h 1486"/>
                      <a:gd name="T18" fmla="*/ 0 w 891"/>
                      <a:gd name="T19" fmla="*/ 225 h 1486"/>
                      <a:gd name="T20" fmla="*/ 7 w 891"/>
                      <a:gd name="T21" fmla="*/ 354 h 1486"/>
                      <a:gd name="T22" fmla="*/ 35 w 891"/>
                      <a:gd name="T23" fmla="*/ 490 h 1486"/>
                      <a:gd name="T24" fmla="*/ 82 w 891"/>
                      <a:gd name="T25" fmla="*/ 631 h 1486"/>
                      <a:gd name="T26" fmla="*/ 149 w 891"/>
                      <a:gd name="T27" fmla="*/ 774 h 1486"/>
                      <a:gd name="T28" fmla="*/ 235 w 891"/>
                      <a:gd name="T29" fmla="*/ 915 h 1486"/>
                      <a:gd name="T30" fmla="*/ 337 w 891"/>
                      <a:gd name="T31" fmla="*/ 1052 h 1486"/>
                      <a:gd name="T32" fmla="*/ 455 w 891"/>
                      <a:gd name="T33" fmla="*/ 1181 h 1486"/>
                      <a:gd name="T34" fmla="*/ 587 w 891"/>
                      <a:gd name="T35" fmla="*/ 1299 h 1486"/>
                      <a:gd name="T36" fmla="*/ 872 w 891"/>
                      <a:gd name="T37" fmla="*/ 1486 h 14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891" h="1486">
                        <a:moveTo>
                          <a:pt x="872" y="1486"/>
                        </a:moveTo>
                        <a:cubicBezTo>
                          <a:pt x="891" y="1141"/>
                          <a:pt x="891" y="1141"/>
                          <a:pt x="891" y="1141"/>
                        </a:cubicBezTo>
                        <a:cubicBezTo>
                          <a:pt x="877" y="1134"/>
                          <a:pt x="864" y="1127"/>
                          <a:pt x="851" y="1119"/>
                        </a:cubicBezTo>
                        <a:cubicBezTo>
                          <a:pt x="632" y="987"/>
                          <a:pt x="456" y="771"/>
                          <a:pt x="388" y="524"/>
                        </a:cubicBezTo>
                        <a:cubicBezTo>
                          <a:pt x="369" y="446"/>
                          <a:pt x="363" y="373"/>
                          <a:pt x="378" y="294"/>
                        </a:cubicBezTo>
                        <a:cubicBezTo>
                          <a:pt x="391" y="250"/>
                          <a:pt x="391" y="250"/>
                          <a:pt x="391" y="250"/>
                        </a:cubicBezTo>
                        <a:cubicBezTo>
                          <a:pt x="50" y="0"/>
                          <a:pt x="50" y="0"/>
                          <a:pt x="50" y="0"/>
                        </a:cubicBezTo>
                        <a:cubicBezTo>
                          <a:pt x="36" y="34"/>
                          <a:pt x="36" y="34"/>
                          <a:pt x="36" y="34"/>
                        </a:cubicBezTo>
                        <a:cubicBezTo>
                          <a:pt x="24" y="71"/>
                          <a:pt x="15" y="106"/>
                          <a:pt x="8" y="145"/>
                        </a:cubicBezTo>
                        <a:cubicBezTo>
                          <a:pt x="0" y="225"/>
                          <a:pt x="0" y="225"/>
                          <a:pt x="0" y="225"/>
                        </a:cubicBezTo>
                        <a:cubicBezTo>
                          <a:pt x="0" y="269"/>
                          <a:pt x="3" y="310"/>
                          <a:pt x="7" y="354"/>
                        </a:cubicBezTo>
                        <a:cubicBezTo>
                          <a:pt x="14" y="400"/>
                          <a:pt x="23" y="445"/>
                          <a:pt x="35" y="490"/>
                        </a:cubicBezTo>
                        <a:cubicBezTo>
                          <a:pt x="49" y="538"/>
                          <a:pt x="64" y="584"/>
                          <a:pt x="82" y="631"/>
                        </a:cubicBezTo>
                        <a:cubicBezTo>
                          <a:pt x="103" y="680"/>
                          <a:pt x="125" y="727"/>
                          <a:pt x="149" y="774"/>
                        </a:cubicBezTo>
                        <a:cubicBezTo>
                          <a:pt x="176" y="822"/>
                          <a:pt x="205" y="869"/>
                          <a:pt x="235" y="915"/>
                        </a:cubicBezTo>
                        <a:cubicBezTo>
                          <a:pt x="267" y="962"/>
                          <a:pt x="302" y="1008"/>
                          <a:pt x="337" y="1052"/>
                        </a:cubicBezTo>
                        <a:cubicBezTo>
                          <a:pt x="375" y="1097"/>
                          <a:pt x="414" y="1139"/>
                          <a:pt x="455" y="1181"/>
                        </a:cubicBezTo>
                        <a:cubicBezTo>
                          <a:pt x="498" y="1222"/>
                          <a:pt x="541" y="1261"/>
                          <a:pt x="587" y="1299"/>
                        </a:cubicBezTo>
                        <a:cubicBezTo>
                          <a:pt x="678" y="1371"/>
                          <a:pt x="770" y="1434"/>
                          <a:pt x="872" y="1486"/>
                        </a:cubicBezTo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D" dirty="0"/>
                  </a:p>
                </p:txBody>
              </p:sp>
            </p:grpSp>
            <p:sp>
              <p:nvSpPr>
                <p:cNvPr id="40" name="Freeform 131">
                  <a:extLst>
                    <a:ext uri="{FF2B5EF4-FFF2-40B4-BE49-F238E27FC236}">
                      <a16:creationId xmlns:a16="http://schemas.microsoft.com/office/drawing/2014/main" id="{2DBD6211-218C-458D-AACB-48350B7DC2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63968" y="3823932"/>
                  <a:ext cx="62625" cy="50544"/>
                </a:xfrm>
                <a:custGeom>
                  <a:avLst/>
                  <a:gdLst>
                    <a:gd name="connsiteX0" fmla="*/ 62625 w 62625"/>
                    <a:gd name="connsiteY0" fmla="*/ 0 h 50544"/>
                    <a:gd name="connsiteX1" fmla="*/ 62524 w 62625"/>
                    <a:gd name="connsiteY1" fmla="*/ 1217 h 50544"/>
                    <a:gd name="connsiteX2" fmla="*/ 2755 w 62625"/>
                    <a:gd name="connsiteY2" fmla="*/ 50544 h 50544"/>
                    <a:gd name="connsiteX3" fmla="*/ 0 w 62625"/>
                    <a:gd name="connsiteY3" fmla="*/ 48888 h 50544"/>
                    <a:gd name="connsiteX4" fmla="*/ 21001 w 62625"/>
                    <a:gd name="connsiteY4" fmla="*/ 31556 h 50544"/>
                    <a:gd name="connsiteX5" fmla="*/ 20508 w 62625"/>
                    <a:gd name="connsiteY5" fmla="*/ 34759 h 50544"/>
                    <a:gd name="connsiteX6" fmla="*/ 62625 w 62625"/>
                    <a:gd name="connsiteY6" fmla="*/ 0 h 50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62625" h="50544">
                      <a:moveTo>
                        <a:pt x="62625" y="0"/>
                      </a:moveTo>
                      <a:cubicBezTo>
                        <a:pt x="62591" y="406"/>
                        <a:pt x="62558" y="811"/>
                        <a:pt x="62524" y="1217"/>
                      </a:cubicBezTo>
                      <a:lnTo>
                        <a:pt x="2755" y="50544"/>
                      </a:lnTo>
                      <a:lnTo>
                        <a:pt x="0" y="48888"/>
                      </a:lnTo>
                      <a:lnTo>
                        <a:pt x="21001" y="31556"/>
                      </a:lnTo>
                      <a:lnTo>
                        <a:pt x="20508" y="34759"/>
                      </a:lnTo>
                      <a:lnTo>
                        <a:pt x="62625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/>
                </a:p>
              </p:txBody>
            </p:sp>
            <p:sp>
              <p:nvSpPr>
                <p:cNvPr id="41" name="Freeform 130">
                  <a:extLst>
                    <a:ext uri="{FF2B5EF4-FFF2-40B4-BE49-F238E27FC236}">
                      <a16:creationId xmlns:a16="http://schemas.microsoft.com/office/drawing/2014/main" id="{DBD600A1-0A86-4FDC-8A8E-A38E20191F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84969" y="3823934"/>
                  <a:ext cx="36861" cy="31555"/>
                </a:xfrm>
                <a:custGeom>
                  <a:avLst/>
                  <a:gdLst>
                    <a:gd name="connsiteX0" fmla="*/ 36861 w 36861"/>
                    <a:gd name="connsiteY0" fmla="*/ 0 h 31555"/>
                    <a:gd name="connsiteX1" fmla="*/ 36760 w 36861"/>
                    <a:gd name="connsiteY1" fmla="*/ 1217 h 31555"/>
                    <a:gd name="connsiteX2" fmla="*/ 0 w 36861"/>
                    <a:gd name="connsiteY2" fmla="*/ 31555 h 31555"/>
                    <a:gd name="connsiteX3" fmla="*/ 200 w 36861"/>
                    <a:gd name="connsiteY3" fmla="*/ 30257 h 31555"/>
                    <a:gd name="connsiteX4" fmla="*/ 36861 w 36861"/>
                    <a:gd name="connsiteY4" fmla="*/ 0 h 31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861" h="31555">
                      <a:moveTo>
                        <a:pt x="36861" y="0"/>
                      </a:moveTo>
                      <a:lnTo>
                        <a:pt x="36760" y="1217"/>
                      </a:lnTo>
                      <a:lnTo>
                        <a:pt x="0" y="31555"/>
                      </a:lnTo>
                      <a:lnTo>
                        <a:pt x="200" y="30257"/>
                      </a:lnTo>
                      <a:lnTo>
                        <a:pt x="36861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ID"/>
                </a:p>
              </p:txBody>
            </p: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C7E406D-9CE5-4982-A030-EBB5E9A4F35B}"/>
                </a:ext>
              </a:extLst>
            </p:cNvPr>
            <p:cNvGrpSpPr/>
            <p:nvPr/>
          </p:nvGrpSpPr>
          <p:grpSpPr>
            <a:xfrm>
              <a:off x="1669194" y="3282246"/>
              <a:ext cx="1707162" cy="1446958"/>
              <a:chOff x="1192873" y="3280434"/>
              <a:chExt cx="1707162" cy="1446958"/>
            </a:xfrm>
          </p:grpSpPr>
          <p:sp>
            <p:nvSpPr>
              <p:cNvPr id="112" name="Rectangle: Rounded Corners 111">
                <a:extLst>
                  <a:ext uri="{FF2B5EF4-FFF2-40B4-BE49-F238E27FC236}">
                    <a16:creationId xmlns:a16="http://schemas.microsoft.com/office/drawing/2014/main" id="{C1BEB1BA-1385-4CEC-BEC6-E46FFB761C98}"/>
                  </a:ext>
                </a:extLst>
              </p:cNvPr>
              <p:cNvSpPr/>
              <p:nvPr/>
            </p:nvSpPr>
            <p:spPr>
              <a:xfrm>
                <a:off x="1279706" y="3280434"/>
                <a:ext cx="1533496" cy="392113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Options One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B16A4858-C10D-4C08-A3F3-6537373C6F96}"/>
                  </a:ext>
                </a:extLst>
              </p:cNvPr>
              <p:cNvSpPr txBox="1"/>
              <p:nvPr/>
            </p:nvSpPr>
            <p:spPr>
              <a:xfrm>
                <a:off x="1192873" y="3758216"/>
                <a:ext cx="1707162" cy="969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F63D4C2E-7A47-4334-BFEF-B0F3C0DD750D}"/>
                </a:ext>
              </a:extLst>
            </p:cNvPr>
            <p:cNvGrpSpPr/>
            <p:nvPr/>
          </p:nvGrpSpPr>
          <p:grpSpPr>
            <a:xfrm>
              <a:off x="8391474" y="4773372"/>
              <a:ext cx="1710148" cy="1446421"/>
              <a:chOff x="9288979" y="4736150"/>
              <a:chExt cx="1710148" cy="1446421"/>
            </a:xfrm>
          </p:grpSpPr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7387A843-2677-4500-AB50-F5FFF31F8768}"/>
                  </a:ext>
                </a:extLst>
              </p:cNvPr>
              <p:cNvSpPr txBox="1"/>
              <p:nvPr/>
            </p:nvSpPr>
            <p:spPr>
              <a:xfrm>
                <a:off x="9291965" y="5213395"/>
                <a:ext cx="1707162" cy="969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  <p:sp>
            <p:nvSpPr>
              <p:cNvPr id="123" name="Rectangle: Rounded Corners 122">
                <a:extLst>
                  <a:ext uri="{FF2B5EF4-FFF2-40B4-BE49-F238E27FC236}">
                    <a16:creationId xmlns:a16="http://schemas.microsoft.com/office/drawing/2014/main" id="{25171A3F-945E-47C5-81AE-2A0378452C96}"/>
                  </a:ext>
                </a:extLst>
              </p:cNvPr>
              <p:cNvSpPr/>
              <p:nvPr/>
            </p:nvSpPr>
            <p:spPr>
              <a:xfrm>
                <a:off x="9288979" y="4736150"/>
                <a:ext cx="1533496" cy="392113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Options Three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7BCB920-5D1A-4C09-AF7D-5EBFAAC0652F}"/>
                </a:ext>
              </a:extLst>
            </p:cNvPr>
            <p:cNvGrpSpPr/>
            <p:nvPr/>
          </p:nvGrpSpPr>
          <p:grpSpPr>
            <a:xfrm>
              <a:off x="8336162" y="1537195"/>
              <a:ext cx="1710148" cy="1446421"/>
              <a:chOff x="9288979" y="1248848"/>
              <a:chExt cx="1710148" cy="1446421"/>
            </a:xfrm>
          </p:grpSpPr>
          <p:sp>
            <p:nvSpPr>
              <p:cNvPr id="132" name="Rectangle: Rounded Corners 131">
                <a:extLst>
                  <a:ext uri="{FF2B5EF4-FFF2-40B4-BE49-F238E27FC236}">
                    <a16:creationId xmlns:a16="http://schemas.microsoft.com/office/drawing/2014/main" id="{12E2777A-E683-4B0C-AFEB-8CD2D4BD1988}"/>
                  </a:ext>
                </a:extLst>
              </p:cNvPr>
              <p:cNvSpPr/>
              <p:nvPr/>
            </p:nvSpPr>
            <p:spPr>
              <a:xfrm>
                <a:off x="9288979" y="1248848"/>
                <a:ext cx="1533496" cy="392113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/>
                  <a:t>Options Two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9AF73AC-CABE-4045-9B82-C49AECC6166E}"/>
                  </a:ext>
                </a:extLst>
              </p:cNvPr>
              <p:cNvSpPr txBox="1"/>
              <p:nvPr/>
            </p:nvSpPr>
            <p:spPr>
              <a:xfrm>
                <a:off x="9291965" y="1726093"/>
                <a:ext cx="1707162" cy="9691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Lorem ipsum dolor sit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me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consectetur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adipiscing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 </a:t>
                </a:r>
                <a:r>
                  <a:rPr lang="en-US" sz="1400" dirty="0" err="1">
                    <a:solidFill>
                      <a:schemeClr val="bg1"/>
                    </a:solidFill>
                    <a:latin typeface="+mj-lt"/>
                  </a:rPr>
                  <a:t>elit</a:t>
                </a:r>
                <a:r>
                  <a:rPr lang="en-US" sz="1400" dirty="0">
                    <a:solidFill>
                      <a:schemeClr val="bg1"/>
                    </a:solidFill>
                    <a:latin typeface="+mj-lt"/>
                  </a:rPr>
                  <a:t>,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5611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31A188C-6959-4970-90BD-0D28BB36428C}"/>
              </a:ext>
            </a:extLst>
          </p:cNvPr>
          <p:cNvGrpSpPr/>
          <p:nvPr/>
        </p:nvGrpSpPr>
        <p:grpSpPr>
          <a:xfrm>
            <a:off x="1655332" y="611065"/>
            <a:ext cx="8881336" cy="5635869"/>
            <a:chOff x="1545981" y="655435"/>
            <a:chExt cx="8881336" cy="5635869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C44FE667-0CD1-4D2E-86EC-4E4614A00140}"/>
                </a:ext>
              </a:extLst>
            </p:cNvPr>
            <p:cNvSpPr txBox="1"/>
            <p:nvPr/>
          </p:nvSpPr>
          <p:spPr>
            <a:xfrm>
              <a:off x="1594798" y="655435"/>
              <a:ext cx="8783703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6 Icons Sitting On A 3D Platform</a:t>
              </a:r>
              <a:endParaRPr lang="en-ID" sz="4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155EF3B-16C6-41B4-AF11-868C2F70BC46}"/>
                </a:ext>
              </a:extLst>
            </p:cNvPr>
            <p:cNvGrpSpPr/>
            <p:nvPr/>
          </p:nvGrpSpPr>
          <p:grpSpPr>
            <a:xfrm>
              <a:off x="1545981" y="1663839"/>
              <a:ext cx="8881336" cy="4627465"/>
              <a:chOff x="2585445" y="601393"/>
              <a:chExt cx="8881336" cy="4627465"/>
            </a:xfrm>
          </p:grpSpPr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48C3B9E6-9927-476E-A46A-BE8647C9085C}"/>
                  </a:ext>
                </a:extLst>
              </p:cNvPr>
              <p:cNvGrpSpPr/>
              <p:nvPr/>
            </p:nvGrpSpPr>
            <p:grpSpPr>
              <a:xfrm>
                <a:off x="2585445" y="601393"/>
                <a:ext cx="8881336" cy="4627465"/>
                <a:chOff x="1713878" y="1536716"/>
                <a:chExt cx="8881336" cy="4627465"/>
              </a:xfrm>
            </p:grpSpPr>
            <p:grpSp>
              <p:nvGrpSpPr>
                <p:cNvPr id="96" name="Group 95">
                  <a:extLst>
                    <a:ext uri="{FF2B5EF4-FFF2-40B4-BE49-F238E27FC236}">
                      <a16:creationId xmlns:a16="http://schemas.microsoft.com/office/drawing/2014/main" id="{E94952F6-92F4-4505-AD1C-421F1C114D1F}"/>
                    </a:ext>
                  </a:extLst>
                </p:cNvPr>
                <p:cNvGrpSpPr/>
                <p:nvPr/>
              </p:nvGrpSpPr>
              <p:grpSpPr>
                <a:xfrm>
                  <a:off x="1944769" y="2333458"/>
                  <a:ext cx="1091821" cy="1429968"/>
                  <a:chOff x="1873440" y="2333458"/>
                  <a:chExt cx="1091821" cy="1429968"/>
                </a:xfrm>
              </p:grpSpPr>
              <p:sp>
                <p:nvSpPr>
                  <p:cNvPr id="12" name="Rectangle: Rounded Corners 11">
                    <a:extLst>
                      <a:ext uri="{FF2B5EF4-FFF2-40B4-BE49-F238E27FC236}">
                        <a16:creationId xmlns:a16="http://schemas.microsoft.com/office/drawing/2014/main" id="{88A11666-3BDD-4A93-A3C4-34A56177E7F6}"/>
                      </a:ext>
                    </a:extLst>
                  </p:cNvPr>
                  <p:cNvSpPr/>
                  <p:nvPr/>
                </p:nvSpPr>
                <p:spPr>
                  <a:xfrm flipH="1">
                    <a:off x="1873440" y="2671605"/>
                    <a:ext cx="1091821" cy="1091821"/>
                  </a:xfrm>
                  <a:prstGeom prst="roundRect">
                    <a:avLst/>
                  </a:prstGeom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" name="Freeform 26">
                    <a:extLst>
                      <a:ext uri="{FF2B5EF4-FFF2-40B4-BE49-F238E27FC236}">
                        <a16:creationId xmlns:a16="http://schemas.microsoft.com/office/drawing/2014/main" id="{733F8671-EDCB-431D-AC03-D8F4BF178BA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flipH="1">
                    <a:off x="2175137" y="3279864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55" name="Freeform 26">
                    <a:extLst>
                      <a:ext uri="{FF2B5EF4-FFF2-40B4-BE49-F238E27FC236}">
                        <a16:creationId xmlns:a16="http://schemas.microsoft.com/office/drawing/2014/main" id="{B951E0D5-3D39-4424-A5A7-7FF67D10CE1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 flipH="1">
                    <a:off x="2004065" y="2333458"/>
                    <a:ext cx="855260" cy="855260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5" name="Group 94">
                  <a:extLst>
                    <a:ext uri="{FF2B5EF4-FFF2-40B4-BE49-F238E27FC236}">
                      <a16:creationId xmlns:a16="http://schemas.microsoft.com/office/drawing/2014/main" id="{1A63528F-DE82-4F6E-A770-52CAD7C49AD4}"/>
                    </a:ext>
                  </a:extLst>
                </p:cNvPr>
                <p:cNvGrpSpPr/>
                <p:nvPr/>
              </p:nvGrpSpPr>
              <p:grpSpPr>
                <a:xfrm>
                  <a:off x="3796370" y="3109567"/>
                  <a:ext cx="1091821" cy="1414352"/>
                  <a:chOff x="3711765" y="3109567"/>
                  <a:chExt cx="1091821" cy="1414352"/>
                </a:xfrm>
              </p:grpSpPr>
              <p:sp>
                <p:nvSpPr>
                  <p:cNvPr id="10" name="Rectangle: Rounded Corners 9">
                    <a:extLst>
                      <a:ext uri="{FF2B5EF4-FFF2-40B4-BE49-F238E27FC236}">
                        <a16:creationId xmlns:a16="http://schemas.microsoft.com/office/drawing/2014/main" id="{BFCDFAEE-773C-4A75-8AE1-4174E11248AA}"/>
                      </a:ext>
                    </a:extLst>
                  </p:cNvPr>
                  <p:cNvSpPr/>
                  <p:nvPr/>
                </p:nvSpPr>
                <p:spPr>
                  <a:xfrm flipH="1">
                    <a:off x="3711765" y="3432098"/>
                    <a:ext cx="1091821" cy="1091821"/>
                  </a:xfrm>
                  <a:prstGeom prst="roundRect">
                    <a:avLst/>
                  </a:prstGeom>
                  <a:solidFill>
                    <a:schemeClr val="accent2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8" name="Freeform 30">
                    <a:extLst>
                      <a:ext uri="{FF2B5EF4-FFF2-40B4-BE49-F238E27FC236}">
                        <a16:creationId xmlns:a16="http://schemas.microsoft.com/office/drawing/2014/main" id="{C43051F4-D25D-472E-81D2-2E0F7A5923D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88772" y="4040357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30">
                    <a:extLst>
                      <a:ext uri="{FF2B5EF4-FFF2-40B4-BE49-F238E27FC236}">
                        <a16:creationId xmlns:a16="http://schemas.microsoft.com/office/drawing/2014/main" id="{0AF0D720-1F3B-4C34-8316-BBEBB1B3414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19042" y="3109567"/>
                    <a:ext cx="855260" cy="85526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DDFE05D7-1930-459E-ABDD-9E823072A327}"/>
                    </a:ext>
                  </a:extLst>
                </p:cNvPr>
                <p:cNvGrpSpPr/>
                <p:nvPr/>
              </p:nvGrpSpPr>
              <p:grpSpPr>
                <a:xfrm>
                  <a:off x="9272503" y="2362255"/>
                  <a:ext cx="1091821" cy="1401171"/>
                  <a:chOff x="9226739" y="2362255"/>
                  <a:chExt cx="1091821" cy="1401171"/>
                </a:xfrm>
              </p:grpSpPr>
              <p:sp>
                <p:nvSpPr>
                  <p:cNvPr id="8" name="Rectangle: Rounded Corners 7">
                    <a:extLst>
                      <a:ext uri="{FF2B5EF4-FFF2-40B4-BE49-F238E27FC236}">
                        <a16:creationId xmlns:a16="http://schemas.microsoft.com/office/drawing/2014/main" id="{92D3C140-5B96-4E0D-85EC-D753326C31A7}"/>
                      </a:ext>
                    </a:extLst>
                  </p:cNvPr>
                  <p:cNvSpPr/>
                  <p:nvPr/>
                </p:nvSpPr>
                <p:spPr>
                  <a:xfrm>
                    <a:off x="9226739" y="2671605"/>
                    <a:ext cx="1091821" cy="1091821"/>
                  </a:xfrm>
                  <a:prstGeom prst="roundRect">
                    <a:avLst/>
                  </a:prstGeom>
                  <a:solidFill>
                    <a:schemeClr val="accent5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3" name="Freeform 28">
                    <a:extLst>
                      <a:ext uri="{FF2B5EF4-FFF2-40B4-BE49-F238E27FC236}">
                        <a16:creationId xmlns:a16="http://schemas.microsoft.com/office/drawing/2014/main" id="{D873583C-02C9-4CFC-9EEB-C0F9CB0F19A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503747" y="3279864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28">
                    <a:extLst>
                      <a:ext uri="{FF2B5EF4-FFF2-40B4-BE49-F238E27FC236}">
                        <a16:creationId xmlns:a16="http://schemas.microsoft.com/office/drawing/2014/main" id="{B4DFBE7D-2161-4D24-B527-7A2AF5E3A26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345019" y="2362255"/>
                    <a:ext cx="855260" cy="855260"/>
                  </a:xfrm>
                  <a:prstGeom prst="ellipse">
                    <a:avLst/>
                  </a:prstGeom>
                  <a:solidFill>
                    <a:schemeClr val="accent5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97" name="Group 96">
                  <a:extLst>
                    <a:ext uri="{FF2B5EF4-FFF2-40B4-BE49-F238E27FC236}">
                      <a16:creationId xmlns:a16="http://schemas.microsoft.com/office/drawing/2014/main" id="{3442BAEE-2410-4DCB-882E-16867F54DF53}"/>
                    </a:ext>
                  </a:extLst>
                </p:cNvPr>
                <p:cNvGrpSpPr/>
                <p:nvPr/>
              </p:nvGrpSpPr>
              <p:grpSpPr>
                <a:xfrm>
                  <a:off x="5556502" y="3876612"/>
                  <a:ext cx="1091821" cy="1407800"/>
                  <a:chOff x="5550089" y="3876612"/>
                  <a:chExt cx="1091821" cy="1407800"/>
                </a:xfrm>
              </p:grpSpPr>
              <p:sp>
                <p:nvSpPr>
                  <p:cNvPr id="4" name="Rectangle: Rounded Corners 3">
                    <a:extLst>
                      <a:ext uri="{FF2B5EF4-FFF2-40B4-BE49-F238E27FC236}">
                        <a16:creationId xmlns:a16="http://schemas.microsoft.com/office/drawing/2014/main" id="{7E4827E8-833B-44DC-855B-960FA5F33A8F}"/>
                      </a:ext>
                    </a:extLst>
                  </p:cNvPr>
                  <p:cNvSpPr/>
                  <p:nvPr/>
                </p:nvSpPr>
                <p:spPr>
                  <a:xfrm>
                    <a:off x="5550089" y="4192591"/>
                    <a:ext cx="1091821" cy="1091821"/>
                  </a:xfrm>
                  <a:prstGeom prst="roundRect">
                    <a:avLst/>
                  </a:prstGeom>
                  <a:solidFill>
                    <a:schemeClr val="accent3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4" name="Freeform 35">
                    <a:extLst>
                      <a:ext uri="{FF2B5EF4-FFF2-40B4-BE49-F238E27FC236}">
                        <a16:creationId xmlns:a16="http://schemas.microsoft.com/office/drawing/2014/main" id="{FF93F580-7A97-40D6-B5A4-B272DD81D13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27097" y="4800850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  <p:sp>
                <p:nvSpPr>
                  <p:cNvPr id="35" name="Freeform 35">
                    <a:extLst>
                      <a:ext uri="{FF2B5EF4-FFF2-40B4-BE49-F238E27FC236}">
                        <a16:creationId xmlns:a16="http://schemas.microsoft.com/office/drawing/2014/main" id="{3C2F9751-DF0A-4BFC-98D0-B13102E647D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74782" y="3876612"/>
                    <a:ext cx="855260" cy="855260"/>
                  </a:xfrm>
                  <a:prstGeom prst="ellipse">
                    <a:avLst/>
                  </a:prstGeom>
                  <a:solidFill>
                    <a:schemeClr val="accent3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100" name="Group 99">
                  <a:extLst>
                    <a:ext uri="{FF2B5EF4-FFF2-40B4-BE49-F238E27FC236}">
                      <a16:creationId xmlns:a16="http://schemas.microsoft.com/office/drawing/2014/main" id="{A1EC28C1-D9BC-4157-9848-91C3AC8A5A70}"/>
                    </a:ext>
                  </a:extLst>
                </p:cNvPr>
                <p:cNvGrpSpPr/>
                <p:nvPr/>
              </p:nvGrpSpPr>
              <p:grpSpPr>
                <a:xfrm>
                  <a:off x="5556502" y="1536716"/>
                  <a:ext cx="1091821" cy="1442883"/>
                  <a:chOff x="5550089" y="1536716"/>
                  <a:chExt cx="1091821" cy="1442883"/>
                </a:xfrm>
              </p:grpSpPr>
              <p:sp>
                <p:nvSpPr>
                  <p:cNvPr id="14" name="Rectangle: Rounded Corners 13">
                    <a:extLst>
                      <a:ext uri="{FF2B5EF4-FFF2-40B4-BE49-F238E27FC236}">
                        <a16:creationId xmlns:a16="http://schemas.microsoft.com/office/drawing/2014/main" id="{1D01E790-6537-4073-94F4-11DF9FE13E7B}"/>
                      </a:ext>
                    </a:extLst>
                  </p:cNvPr>
                  <p:cNvSpPr/>
                  <p:nvPr/>
                </p:nvSpPr>
                <p:spPr>
                  <a:xfrm>
                    <a:off x="5550089" y="1887778"/>
                    <a:ext cx="1091821" cy="1091821"/>
                  </a:xfrm>
                  <a:prstGeom prst="round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" name="Freeform 33">
                    <a:extLst>
                      <a:ext uri="{FF2B5EF4-FFF2-40B4-BE49-F238E27FC236}">
                        <a16:creationId xmlns:a16="http://schemas.microsoft.com/office/drawing/2014/main" id="{9B1CFE5D-CF1B-4920-B18D-8CDB4E757E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27097" y="2496037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9" name="Freeform 33">
                    <a:extLst>
                      <a:ext uri="{FF2B5EF4-FFF2-40B4-BE49-F238E27FC236}">
                        <a16:creationId xmlns:a16="http://schemas.microsoft.com/office/drawing/2014/main" id="{3BF90829-89A0-4DF6-91AD-96D1FD17B5E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74782" y="1536716"/>
                    <a:ext cx="855260" cy="85526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dirty="0"/>
                  </a:p>
                </p:txBody>
              </p:sp>
            </p:grpSp>
            <p:grpSp>
              <p:nvGrpSpPr>
                <p:cNvPr id="98" name="Group 97">
                  <a:extLst>
                    <a:ext uri="{FF2B5EF4-FFF2-40B4-BE49-F238E27FC236}">
                      <a16:creationId xmlns:a16="http://schemas.microsoft.com/office/drawing/2014/main" id="{1FDFF085-E9C6-4087-8651-FF08DDC8A671}"/>
                    </a:ext>
                  </a:extLst>
                </p:cNvPr>
                <p:cNvGrpSpPr/>
                <p:nvPr/>
              </p:nvGrpSpPr>
              <p:grpSpPr>
                <a:xfrm>
                  <a:off x="7435110" y="3119473"/>
                  <a:ext cx="1091821" cy="1404446"/>
                  <a:chOff x="7388414" y="3119473"/>
                  <a:chExt cx="1091821" cy="1404446"/>
                </a:xfrm>
              </p:grpSpPr>
              <p:sp>
                <p:nvSpPr>
                  <p:cNvPr id="6" name="Rectangle: Rounded Corners 5">
                    <a:extLst>
                      <a:ext uri="{FF2B5EF4-FFF2-40B4-BE49-F238E27FC236}">
                        <a16:creationId xmlns:a16="http://schemas.microsoft.com/office/drawing/2014/main" id="{55C2A0FC-43E4-424E-84AE-754FC27C51AE}"/>
                      </a:ext>
                    </a:extLst>
                  </p:cNvPr>
                  <p:cNvSpPr/>
                  <p:nvPr/>
                </p:nvSpPr>
                <p:spPr>
                  <a:xfrm>
                    <a:off x="7388414" y="3432098"/>
                    <a:ext cx="1091821" cy="1091821"/>
                  </a:xfrm>
                  <a:prstGeom prst="roundRect">
                    <a:avLst/>
                  </a:prstGeom>
                  <a:solidFill>
                    <a:schemeClr val="accent4"/>
                  </a:solidFill>
                  <a:ln>
                    <a:noFill/>
                  </a:ln>
                  <a:effectLst>
                    <a:outerShdw blurRad="190500" dist="152400" dir="8100000" algn="tr" rotWithShape="0">
                      <a:prstClr val="black">
                        <a:alpha val="30000"/>
                      </a:prstClr>
                    </a:outerShdw>
                  </a:effectLst>
                  <a:scene3d>
                    <a:camera prst="isometricTopUp"/>
                    <a:lightRig rig="threePt" dir="t"/>
                  </a:scene3d>
                  <a:sp3d extrusionH="1270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3" name="Freeform 24">
                    <a:extLst>
                      <a:ext uri="{FF2B5EF4-FFF2-40B4-BE49-F238E27FC236}">
                        <a16:creationId xmlns:a16="http://schemas.microsoft.com/office/drawing/2014/main" id="{87555E49-1E36-496C-BA2D-711F9A06E7B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665422" y="4040357"/>
                    <a:ext cx="513116" cy="62502"/>
                  </a:xfrm>
                  <a:prstGeom prst="ellipse">
                    <a:avLst/>
                  </a:prstGeom>
                  <a:solidFill>
                    <a:schemeClr val="tx1">
                      <a:lumMod val="85000"/>
                      <a:lumOff val="15000"/>
                      <a:alpha val="19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24" name="Freeform 24">
                    <a:extLst>
                      <a:ext uri="{FF2B5EF4-FFF2-40B4-BE49-F238E27FC236}">
                        <a16:creationId xmlns:a16="http://schemas.microsoft.com/office/drawing/2014/main" id="{7A47FD08-AD82-4E97-B999-8E7164D92D0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512240" y="3119473"/>
                    <a:ext cx="855260" cy="855260"/>
                  </a:xfrm>
                  <a:prstGeom prst="ellipse">
                    <a:avLst/>
                  </a:prstGeom>
                  <a:solidFill>
                    <a:schemeClr val="accent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45C8F104-ABEC-4536-B616-388F65111984}"/>
                    </a:ext>
                  </a:extLst>
                </p:cNvPr>
                <p:cNvGrpSpPr/>
                <p:nvPr/>
              </p:nvGrpSpPr>
              <p:grpSpPr>
                <a:xfrm>
                  <a:off x="5325611" y="5353390"/>
                  <a:ext cx="1553602" cy="810791"/>
                  <a:chOff x="7802641" y="975961"/>
                  <a:chExt cx="1553602" cy="810791"/>
                </a:xfrm>
              </p:grpSpPr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D75B6549-5592-4E9D-B6A4-4D1453C253ED}"/>
                      </a:ext>
                    </a:extLst>
                  </p:cNvPr>
                  <p:cNvSpPr/>
                  <p:nvPr/>
                </p:nvSpPr>
                <p:spPr>
                  <a:xfrm>
                    <a:off x="7806340" y="975961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3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76" name="Rectangle 75">
                    <a:extLst>
                      <a:ext uri="{FF2B5EF4-FFF2-40B4-BE49-F238E27FC236}">
                        <a16:creationId xmlns:a16="http://schemas.microsoft.com/office/drawing/2014/main" id="{E82EA064-8A57-4B04-8764-A2A987EE7F1F}"/>
                      </a:ext>
                    </a:extLst>
                  </p:cNvPr>
                  <p:cNvSpPr/>
                  <p:nvPr/>
                </p:nvSpPr>
                <p:spPr>
                  <a:xfrm>
                    <a:off x="7802641" y="1265968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9F4EDD77-386F-476D-BD9D-2DFA1D5D4998}"/>
                    </a:ext>
                  </a:extLst>
                </p:cNvPr>
                <p:cNvGrpSpPr/>
                <p:nvPr/>
              </p:nvGrpSpPr>
              <p:grpSpPr>
                <a:xfrm>
                  <a:off x="7204219" y="4600093"/>
                  <a:ext cx="1553602" cy="810791"/>
                  <a:chOff x="8821656" y="3638813"/>
                  <a:chExt cx="1553602" cy="810791"/>
                </a:xfrm>
              </p:grpSpPr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id="{BA6903F0-D6A2-4A69-8189-8FA2D286E60D}"/>
                      </a:ext>
                    </a:extLst>
                  </p:cNvPr>
                  <p:cNvSpPr/>
                  <p:nvPr/>
                </p:nvSpPr>
                <p:spPr>
                  <a:xfrm>
                    <a:off x="8889156" y="363881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4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79" name="Rectangle 78">
                    <a:extLst>
                      <a:ext uri="{FF2B5EF4-FFF2-40B4-BE49-F238E27FC236}">
                        <a16:creationId xmlns:a16="http://schemas.microsoft.com/office/drawing/2014/main" id="{EAB3E5F9-309D-4FF7-86C2-7F4A06783AFD}"/>
                      </a:ext>
                    </a:extLst>
                  </p:cNvPr>
                  <p:cNvSpPr/>
                  <p:nvPr/>
                </p:nvSpPr>
                <p:spPr>
                  <a:xfrm>
                    <a:off x="8821656" y="392882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FFD2292D-9520-497E-8E42-A617AF2D719B}"/>
                    </a:ext>
                  </a:extLst>
                </p:cNvPr>
                <p:cNvGrpSpPr/>
                <p:nvPr/>
              </p:nvGrpSpPr>
              <p:grpSpPr>
                <a:xfrm>
                  <a:off x="3565479" y="4600093"/>
                  <a:ext cx="1553602" cy="810791"/>
                  <a:chOff x="6521304" y="3638813"/>
                  <a:chExt cx="1553602" cy="810791"/>
                </a:xfrm>
              </p:grpSpPr>
              <p:sp>
                <p:nvSpPr>
                  <p:cNvPr id="81" name="Rectangle 80">
                    <a:extLst>
                      <a:ext uri="{FF2B5EF4-FFF2-40B4-BE49-F238E27FC236}">
                        <a16:creationId xmlns:a16="http://schemas.microsoft.com/office/drawing/2014/main" id="{0A420ECC-308F-4F95-B1B8-6B8CBF86B0B0}"/>
                      </a:ext>
                    </a:extLst>
                  </p:cNvPr>
                  <p:cNvSpPr/>
                  <p:nvPr/>
                </p:nvSpPr>
                <p:spPr>
                  <a:xfrm>
                    <a:off x="6525003" y="363881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2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7C95C451-AAC4-46B3-954A-4AE3FC5F44CA}"/>
                      </a:ext>
                    </a:extLst>
                  </p:cNvPr>
                  <p:cNvSpPr/>
                  <p:nvPr/>
                </p:nvSpPr>
                <p:spPr>
                  <a:xfrm>
                    <a:off x="6521304" y="392882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3" name="Group 82">
                  <a:extLst>
                    <a:ext uri="{FF2B5EF4-FFF2-40B4-BE49-F238E27FC236}">
                      <a16:creationId xmlns:a16="http://schemas.microsoft.com/office/drawing/2014/main" id="{BF8EA46E-0870-422D-95A6-E3C4C9FFE81B}"/>
                    </a:ext>
                  </a:extLst>
                </p:cNvPr>
                <p:cNvGrpSpPr/>
                <p:nvPr/>
              </p:nvGrpSpPr>
              <p:grpSpPr>
                <a:xfrm>
                  <a:off x="1713878" y="3845854"/>
                  <a:ext cx="1553602" cy="810791"/>
                  <a:chOff x="5115371" y="815483"/>
                  <a:chExt cx="1553602" cy="810791"/>
                </a:xfrm>
              </p:grpSpPr>
              <p:sp>
                <p:nvSpPr>
                  <p:cNvPr id="84" name="Rectangle 83">
                    <a:extLst>
                      <a:ext uri="{FF2B5EF4-FFF2-40B4-BE49-F238E27FC236}">
                        <a16:creationId xmlns:a16="http://schemas.microsoft.com/office/drawing/2014/main" id="{9D48DDDC-0CAD-445A-93E4-63A295FA1DF9}"/>
                      </a:ext>
                    </a:extLst>
                  </p:cNvPr>
                  <p:cNvSpPr/>
                  <p:nvPr/>
                </p:nvSpPr>
                <p:spPr>
                  <a:xfrm>
                    <a:off x="5119070" y="81548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1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85" name="Rectangle 84">
                    <a:extLst>
                      <a:ext uri="{FF2B5EF4-FFF2-40B4-BE49-F238E27FC236}">
                        <a16:creationId xmlns:a16="http://schemas.microsoft.com/office/drawing/2014/main" id="{0F153346-3740-4A40-B7A8-BE3A756E99E8}"/>
                      </a:ext>
                    </a:extLst>
                  </p:cNvPr>
                  <p:cNvSpPr/>
                  <p:nvPr/>
                </p:nvSpPr>
                <p:spPr>
                  <a:xfrm>
                    <a:off x="5115371" y="110549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6" name="Group 85">
                  <a:extLst>
                    <a:ext uri="{FF2B5EF4-FFF2-40B4-BE49-F238E27FC236}">
                      <a16:creationId xmlns:a16="http://schemas.microsoft.com/office/drawing/2014/main" id="{9EEB9E82-B6F4-495C-86D1-EF016156CBF9}"/>
                    </a:ext>
                  </a:extLst>
                </p:cNvPr>
                <p:cNvGrpSpPr/>
                <p:nvPr/>
              </p:nvGrpSpPr>
              <p:grpSpPr>
                <a:xfrm>
                  <a:off x="5325611" y="2928001"/>
                  <a:ext cx="1553602" cy="810791"/>
                  <a:chOff x="7802641" y="975961"/>
                  <a:chExt cx="1553602" cy="810791"/>
                </a:xfrm>
              </p:grpSpPr>
              <p:sp>
                <p:nvSpPr>
                  <p:cNvPr id="87" name="Rectangle 86">
                    <a:extLst>
                      <a:ext uri="{FF2B5EF4-FFF2-40B4-BE49-F238E27FC236}">
                        <a16:creationId xmlns:a16="http://schemas.microsoft.com/office/drawing/2014/main" id="{FDD6B6A9-53F1-4552-AD0C-E54184CA65C3}"/>
                      </a:ext>
                    </a:extLst>
                  </p:cNvPr>
                  <p:cNvSpPr/>
                  <p:nvPr/>
                </p:nvSpPr>
                <p:spPr>
                  <a:xfrm>
                    <a:off x="7806340" y="975961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6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88" name="Rectangle 87">
                    <a:extLst>
                      <a:ext uri="{FF2B5EF4-FFF2-40B4-BE49-F238E27FC236}">
                        <a16:creationId xmlns:a16="http://schemas.microsoft.com/office/drawing/2014/main" id="{C1B7D470-743C-448D-9441-06FF4EF88473}"/>
                      </a:ext>
                    </a:extLst>
                  </p:cNvPr>
                  <p:cNvSpPr/>
                  <p:nvPr/>
                </p:nvSpPr>
                <p:spPr>
                  <a:xfrm>
                    <a:off x="7802641" y="1265968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  <p:grpSp>
              <p:nvGrpSpPr>
                <p:cNvPr id="89" name="Group 88">
                  <a:extLst>
                    <a:ext uri="{FF2B5EF4-FFF2-40B4-BE49-F238E27FC236}">
                      <a16:creationId xmlns:a16="http://schemas.microsoft.com/office/drawing/2014/main" id="{83B7BF4B-5C0A-4FEC-9774-97DEFE2115BA}"/>
                    </a:ext>
                  </a:extLst>
                </p:cNvPr>
                <p:cNvGrpSpPr/>
                <p:nvPr/>
              </p:nvGrpSpPr>
              <p:grpSpPr>
                <a:xfrm>
                  <a:off x="9041612" y="3876612"/>
                  <a:ext cx="1553602" cy="810791"/>
                  <a:chOff x="8821656" y="3638813"/>
                  <a:chExt cx="1553602" cy="810791"/>
                </a:xfrm>
              </p:grpSpPr>
              <p:sp>
                <p:nvSpPr>
                  <p:cNvPr id="90" name="Rectangle 89">
                    <a:extLst>
                      <a:ext uri="{FF2B5EF4-FFF2-40B4-BE49-F238E27FC236}">
                        <a16:creationId xmlns:a16="http://schemas.microsoft.com/office/drawing/2014/main" id="{44338E52-4D3A-4386-A332-58FB9DDBDE94}"/>
                      </a:ext>
                    </a:extLst>
                  </p:cNvPr>
                  <p:cNvSpPr/>
                  <p:nvPr/>
                </p:nvSpPr>
                <p:spPr>
                  <a:xfrm>
                    <a:off x="8889156" y="3638813"/>
                    <a:ext cx="1418602" cy="33361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400" b="1" dirty="0">
                        <a:solidFill>
                          <a:schemeClr val="accent5"/>
                        </a:solidFill>
                        <a:cs typeface="Segoe UI" panose="020B0502040204020203" pitchFamily="34" charset="0"/>
                      </a:rPr>
                      <a:t>Your Text Here</a:t>
                    </a:r>
                  </a:p>
                </p:txBody>
              </p:sp>
              <p:sp>
                <p:nvSpPr>
                  <p:cNvPr id="91" name="Rectangle 90">
                    <a:extLst>
                      <a:ext uri="{FF2B5EF4-FFF2-40B4-BE49-F238E27FC236}">
                        <a16:creationId xmlns:a16="http://schemas.microsoft.com/office/drawing/2014/main" id="{BA2F138B-AAC5-476E-B707-D42E11F24AAA}"/>
                      </a:ext>
                    </a:extLst>
                  </p:cNvPr>
                  <p:cNvSpPr/>
                  <p:nvPr/>
                </p:nvSpPr>
                <p:spPr>
                  <a:xfrm>
                    <a:off x="8821656" y="3928820"/>
                    <a:ext cx="1553602" cy="520784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>
                      <a:lnSpc>
                        <a:spcPct val="120000"/>
                      </a:lnSpc>
                    </a:pPr>
                    <a:r>
                      <a:rPr lang="en-US" sz="1200" dirty="0">
                        <a:solidFill>
                          <a:schemeClr val="bg1"/>
                        </a:solidFill>
                        <a:latin typeface="+mj-lt"/>
                        <a:cs typeface="Segoe UI Light" panose="020B0502040204020203" pitchFamily="34" charset="0"/>
                      </a:rPr>
                      <a:t>A wonderful serenity has taken possession</a:t>
                    </a:r>
                  </a:p>
                </p:txBody>
              </p:sp>
            </p:grpSp>
          </p:grpSp>
          <p:sp>
            <p:nvSpPr>
              <p:cNvPr id="104" name="Freeform 145">
                <a:extLst>
                  <a:ext uri="{FF2B5EF4-FFF2-40B4-BE49-F238E27FC236}">
                    <a16:creationId xmlns:a16="http://schemas.microsoft.com/office/drawing/2014/main" id="{BB11DA35-57F2-4124-867B-47FF51844C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3532" y="1656362"/>
                <a:ext cx="362117" cy="362117"/>
              </a:xfrm>
              <a:custGeom>
                <a:avLst/>
                <a:gdLst>
                  <a:gd name="T0" fmla="*/ 31535 w 444"/>
                  <a:gd name="T1" fmla="*/ 179798 h 445"/>
                  <a:gd name="T2" fmla="*/ 31535 w 444"/>
                  <a:gd name="T3" fmla="*/ 179798 h 445"/>
                  <a:gd name="T4" fmla="*/ 55863 w 444"/>
                  <a:gd name="T5" fmla="*/ 199576 h 445"/>
                  <a:gd name="T6" fmla="*/ 75685 w 444"/>
                  <a:gd name="T7" fmla="*/ 179798 h 445"/>
                  <a:gd name="T8" fmla="*/ 55863 w 444"/>
                  <a:gd name="T9" fmla="*/ 155525 h 445"/>
                  <a:gd name="T10" fmla="*/ 31535 w 444"/>
                  <a:gd name="T11" fmla="*/ 179798 h 445"/>
                  <a:gd name="T12" fmla="*/ 143712 w 444"/>
                  <a:gd name="T13" fmla="*/ 179798 h 445"/>
                  <a:gd name="T14" fmla="*/ 143712 w 444"/>
                  <a:gd name="T15" fmla="*/ 179798 h 445"/>
                  <a:gd name="T16" fmla="*/ 167589 w 444"/>
                  <a:gd name="T17" fmla="*/ 199576 h 445"/>
                  <a:gd name="T18" fmla="*/ 187861 w 444"/>
                  <a:gd name="T19" fmla="*/ 179798 h 445"/>
                  <a:gd name="T20" fmla="*/ 167589 w 444"/>
                  <a:gd name="T21" fmla="*/ 155525 h 445"/>
                  <a:gd name="T22" fmla="*/ 143712 w 444"/>
                  <a:gd name="T23" fmla="*/ 179798 h 445"/>
                  <a:gd name="T24" fmla="*/ 71631 w 444"/>
                  <a:gd name="T25" fmla="*/ 127656 h 445"/>
                  <a:gd name="T26" fmla="*/ 71631 w 444"/>
                  <a:gd name="T27" fmla="*/ 127656 h 445"/>
                  <a:gd name="T28" fmla="*/ 195520 w 444"/>
                  <a:gd name="T29" fmla="*/ 91697 h 445"/>
                  <a:gd name="T30" fmla="*/ 199574 w 444"/>
                  <a:gd name="T31" fmla="*/ 84055 h 445"/>
                  <a:gd name="T32" fmla="*/ 199574 w 444"/>
                  <a:gd name="T33" fmla="*/ 24273 h 445"/>
                  <a:gd name="T34" fmla="*/ 44150 w 444"/>
                  <a:gd name="T35" fmla="*/ 24273 h 445"/>
                  <a:gd name="T36" fmla="*/ 44150 w 444"/>
                  <a:gd name="T37" fmla="*/ 4495 h 445"/>
                  <a:gd name="T38" fmla="*/ 40095 w 444"/>
                  <a:gd name="T39" fmla="*/ 0 h 445"/>
                  <a:gd name="T40" fmla="*/ 4055 w 444"/>
                  <a:gd name="T41" fmla="*/ 0 h 445"/>
                  <a:gd name="T42" fmla="*/ 0 w 444"/>
                  <a:gd name="T43" fmla="*/ 4495 h 445"/>
                  <a:gd name="T44" fmla="*/ 0 w 444"/>
                  <a:gd name="T45" fmla="*/ 24273 h 445"/>
                  <a:gd name="T46" fmla="*/ 20273 w 444"/>
                  <a:gd name="T47" fmla="*/ 24273 h 445"/>
                  <a:gd name="T48" fmla="*/ 44150 w 444"/>
                  <a:gd name="T49" fmla="*/ 123611 h 445"/>
                  <a:gd name="T50" fmla="*/ 44150 w 444"/>
                  <a:gd name="T51" fmla="*/ 135747 h 445"/>
                  <a:gd name="T52" fmla="*/ 44150 w 444"/>
                  <a:gd name="T53" fmla="*/ 151929 h 445"/>
                  <a:gd name="T54" fmla="*/ 47754 w 444"/>
                  <a:gd name="T55" fmla="*/ 155525 h 445"/>
                  <a:gd name="T56" fmla="*/ 55863 w 444"/>
                  <a:gd name="T57" fmla="*/ 155525 h 445"/>
                  <a:gd name="T58" fmla="*/ 167589 w 444"/>
                  <a:gd name="T59" fmla="*/ 155525 h 445"/>
                  <a:gd name="T60" fmla="*/ 195520 w 444"/>
                  <a:gd name="T61" fmla="*/ 155525 h 445"/>
                  <a:gd name="T62" fmla="*/ 199574 w 444"/>
                  <a:gd name="T63" fmla="*/ 151929 h 445"/>
                  <a:gd name="T64" fmla="*/ 199574 w 444"/>
                  <a:gd name="T65" fmla="*/ 135747 h 445"/>
                  <a:gd name="T66" fmla="*/ 75685 w 444"/>
                  <a:gd name="T67" fmla="*/ 135747 h 445"/>
                  <a:gd name="T68" fmla="*/ 71631 w 444"/>
                  <a:gd name="T69" fmla="*/ 127656 h 445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444" h="445">
                    <a:moveTo>
                      <a:pt x="70" y="400"/>
                    </a:moveTo>
                    <a:lnTo>
                      <a:pt x="70" y="400"/>
                    </a:lnTo>
                    <a:cubicBezTo>
                      <a:pt x="70" y="426"/>
                      <a:pt x="98" y="444"/>
                      <a:pt x="124" y="444"/>
                    </a:cubicBezTo>
                    <a:cubicBezTo>
                      <a:pt x="151" y="444"/>
                      <a:pt x="168" y="426"/>
                      <a:pt x="168" y="400"/>
                    </a:cubicBezTo>
                    <a:cubicBezTo>
                      <a:pt x="168" y="373"/>
                      <a:pt x="151" y="346"/>
                      <a:pt x="124" y="346"/>
                    </a:cubicBezTo>
                    <a:cubicBezTo>
                      <a:pt x="98" y="346"/>
                      <a:pt x="70" y="373"/>
                      <a:pt x="70" y="400"/>
                    </a:cubicBezTo>
                    <a:close/>
                    <a:moveTo>
                      <a:pt x="319" y="400"/>
                    </a:moveTo>
                    <a:lnTo>
                      <a:pt x="319" y="400"/>
                    </a:lnTo>
                    <a:cubicBezTo>
                      <a:pt x="319" y="426"/>
                      <a:pt x="345" y="444"/>
                      <a:pt x="372" y="444"/>
                    </a:cubicBezTo>
                    <a:cubicBezTo>
                      <a:pt x="399" y="444"/>
                      <a:pt x="417" y="426"/>
                      <a:pt x="417" y="400"/>
                    </a:cubicBezTo>
                    <a:cubicBezTo>
                      <a:pt x="417" y="373"/>
                      <a:pt x="399" y="346"/>
                      <a:pt x="372" y="346"/>
                    </a:cubicBezTo>
                    <a:cubicBezTo>
                      <a:pt x="345" y="346"/>
                      <a:pt x="319" y="373"/>
                      <a:pt x="319" y="400"/>
                    </a:cubicBezTo>
                    <a:close/>
                    <a:moveTo>
                      <a:pt x="159" y="284"/>
                    </a:moveTo>
                    <a:lnTo>
                      <a:pt x="159" y="284"/>
                    </a:lnTo>
                    <a:cubicBezTo>
                      <a:pt x="434" y="204"/>
                      <a:pt x="434" y="204"/>
                      <a:pt x="434" y="204"/>
                    </a:cubicBezTo>
                    <a:cubicBezTo>
                      <a:pt x="443" y="204"/>
                      <a:pt x="443" y="195"/>
                      <a:pt x="443" y="187"/>
                    </a:cubicBezTo>
                    <a:cubicBezTo>
                      <a:pt x="443" y="54"/>
                      <a:pt x="443" y="54"/>
                      <a:pt x="443" y="54"/>
                    </a:cubicBezTo>
                    <a:cubicBezTo>
                      <a:pt x="98" y="54"/>
                      <a:pt x="98" y="54"/>
                      <a:pt x="98" y="54"/>
                    </a:cubicBezTo>
                    <a:cubicBezTo>
                      <a:pt x="98" y="10"/>
                      <a:pt x="98" y="10"/>
                      <a:pt x="98" y="10"/>
                    </a:cubicBezTo>
                    <a:lnTo>
                      <a:pt x="89" y="0"/>
                    </a:ln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10"/>
                      <a:pt x="0" y="1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98" y="275"/>
                      <a:pt x="98" y="275"/>
                      <a:pt x="98" y="275"/>
                    </a:cubicBezTo>
                    <a:cubicBezTo>
                      <a:pt x="98" y="302"/>
                      <a:pt x="98" y="302"/>
                      <a:pt x="98" y="302"/>
                    </a:cubicBezTo>
                    <a:cubicBezTo>
                      <a:pt x="98" y="338"/>
                      <a:pt x="98" y="338"/>
                      <a:pt x="98" y="338"/>
                    </a:cubicBezTo>
                    <a:cubicBezTo>
                      <a:pt x="98" y="346"/>
                      <a:pt x="106" y="346"/>
                      <a:pt x="106" y="346"/>
                    </a:cubicBezTo>
                    <a:cubicBezTo>
                      <a:pt x="124" y="346"/>
                      <a:pt x="124" y="346"/>
                      <a:pt x="124" y="346"/>
                    </a:cubicBezTo>
                    <a:cubicBezTo>
                      <a:pt x="372" y="346"/>
                      <a:pt x="372" y="346"/>
                      <a:pt x="372" y="346"/>
                    </a:cubicBezTo>
                    <a:cubicBezTo>
                      <a:pt x="434" y="346"/>
                      <a:pt x="434" y="346"/>
                      <a:pt x="434" y="346"/>
                    </a:cubicBezTo>
                    <a:cubicBezTo>
                      <a:pt x="443" y="346"/>
                      <a:pt x="443" y="346"/>
                      <a:pt x="443" y="338"/>
                    </a:cubicBezTo>
                    <a:cubicBezTo>
                      <a:pt x="443" y="302"/>
                      <a:pt x="443" y="302"/>
                      <a:pt x="443" y="302"/>
                    </a:cubicBezTo>
                    <a:cubicBezTo>
                      <a:pt x="168" y="302"/>
                      <a:pt x="168" y="302"/>
                      <a:pt x="168" y="302"/>
                    </a:cubicBezTo>
                    <a:cubicBezTo>
                      <a:pt x="133" y="302"/>
                      <a:pt x="133" y="284"/>
                      <a:pt x="159" y="28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5" name="Freeform 27">
                <a:extLst>
                  <a:ext uri="{FF2B5EF4-FFF2-40B4-BE49-F238E27FC236}">
                    <a16:creationId xmlns:a16="http://schemas.microsoft.com/office/drawing/2014/main" id="{7889A3B6-D75C-4B21-B3AB-0E8611C79D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0947" y="2407043"/>
                <a:ext cx="416791" cy="352902"/>
              </a:xfrm>
              <a:custGeom>
                <a:avLst/>
                <a:gdLst>
                  <a:gd name="T0" fmla="*/ 209171 w 602"/>
                  <a:gd name="T1" fmla="*/ 183789 h 510"/>
                  <a:gd name="T2" fmla="*/ 209171 w 602"/>
                  <a:gd name="T3" fmla="*/ 183789 h 510"/>
                  <a:gd name="T4" fmla="*/ 7587 w 602"/>
                  <a:gd name="T5" fmla="*/ 183789 h 510"/>
                  <a:gd name="T6" fmla="*/ 0 w 602"/>
                  <a:gd name="T7" fmla="*/ 176206 h 510"/>
                  <a:gd name="T8" fmla="*/ 0 w 602"/>
                  <a:gd name="T9" fmla="*/ 173679 h 510"/>
                  <a:gd name="T10" fmla="*/ 7587 w 602"/>
                  <a:gd name="T11" fmla="*/ 163207 h 510"/>
                  <a:gd name="T12" fmla="*/ 209171 w 602"/>
                  <a:gd name="T13" fmla="*/ 163207 h 510"/>
                  <a:gd name="T14" fmla="*/ 217119 w 602"/>
                  <a:gd name="T15" fmla="*/ 173679 h 510"/>
                  <a:gd name="T16" fmla="*/ 217119 w 602"/>
                  <a:gd name="T17" fmla="*/ 176206 h 510"/>
                  <a:gd name="T18" fmla="*/ 209171 w 602"/>
                  <a:gd name="T19" fmla="*/ 183789 h 510"/>
                  <a:gd name="T20" fmla="*/ 175935 w 602"/>
                  <a:gd name="T21" fmla="*/ 153097 h 510"/>
                  <a:gd name="T22" fmla="*/ 175935 w 602"/>
                  <a:gd name="T23" fmla="*/ 153097 h 510"/>
                  <a:gd name="T24" fmla="*/ 155704 w 602"/>
                  <a:gd name="T25" fmla="*/ 153097 h 510"/>
                  <a:gd name="T26" fmla="*/ 145589 w 602"/>
                  <a:gd name="T27" fmla="*/ 142987 h 510"/>
                  <a:gd name="T28" fmla="*/ 145589 w 602"/>
                  <a:gd name="T29" fmla="*/ 10110 h 510"/>
                  <a:gd name="T30" fmla="*/ 155704 w 602"/>
                  <a:gd name="T31" fmla="*/ 0 h 510"/>
                  <a:gd name="T32" fmla="*/ 175935 w 602"/>
                  <a:gd name="T33" fmla="*/ 0 h 510"/>
                  <a:gd name="T34" fmla="*/ 186411 w 602"/>
                  <a:gd name="T35" fmla="*/ 10110 h 510"/>
                  <a:gd name="T36" fmla="*/ 186411 w 602"/>
                  <a:gd name="T37" fmla="*/ 142987 h 510"/>
                  <a:gd name="T38" fmla="*/ 175935 w 602"/>
                  <a:gd name="T39" fmla="*/ 153097 h 510"/>
                  <a:gd name="T40" fmla="*/ 119939 w 602"/>
                  <a:gd name="T41" fmla="*/ 153097 h 510"/>
                  <a:gd name="T42" fmla="*/ 119939 w 602"/>
                  <a:gd name="T43" fmla="*/ 153097 h 510"/>
                  <a:gd name="T44" fmla="*/ 99708 w 602"/>
                  <a:gd name="T45" fmla="*/ 153097 h 510"/>
                  <a:gd name="T46" fmla="*/ 89232 w 602"/>
                  <a:gd name="T47" fmla="*/ 142987 h 510"/>
                  <a:gd name="T48" fmla="*/ 89232 w 602"/>
                  <a:gd name="T49" fmla="*/ 58856 h 510"/>
                  <a:gd name="T50" fmla="*/ 99708 w 602"/>
                  <a:gd name="T51" fmla="*/ 48385 h 510"/>
                  <a:gd name="T52" fmla="*/ 119939 w 602"/>
                  <a:gd name="T53" fmla="*/ 48385 h 510"/>
                  <a:gd name="T54" fmla="*/ 130054 w 602"/>
                  <a:gd name="T55" fmla="*/ 58856 h 510"/>
                  <a:gd name="T56" fmla="*/ 130054 w 602"/>
                  <a:gd name="T57" fmla="*/ 142987 h 510"/>
                  <a:gd name="T58" fmla="*/ 119939 w 602"/>
                  <a:gd name="T59" fmla="*/ 153097 h 510"/>
                  <a:gd name="T60" fmla="*/ 61053 w 602"/>
                  <a:gd name="T61" fmla="*/ 153097 h 510"/>
                  <a:gd name="T62" fmla="*/ 61053 w 602"/>
                  <a:gd name="T63" fmla="*/ 153097 h 510"/>
                  <a:gd name="T64" fmla="*/ 40823 w 602"/>
                  <a:gd name="T65" fmla="*/ 153097 h 510"/>
                  <a:gd name="T66" fmla="*/ 30707 w 602"/>
                  <a:gd name="T67" fmla="*/ 142987 h 510"/>
                  <a:gd name="T68" fmla="*/ 30707 w 602"/>
                  <a:gd name="T69" fmla="*/ 107240 h 510"/>
                  <a:gd name="T70" fmla="*/ 40823 w 602"/>
                  <a:gd name="T71" fmla="*/ 97130 h 510"/>
                  <a:gd name="T72" fmla="*/ 61053 w 602"/>
                  <a:gd name="T73" fmla="*/ 97130 h 510"/>
                  <a:gd name="T74" fmla="*/ 71530 w 602"/>
                  <a:gd name="T75" fmla="*/ 107240 h 510"/>
                  <a:gd name="T76" fmla="*/ 71530 w 602"/>
                  <a:gd name="T77" fmla="*/ 142987 h 510"/>
                  <a:gd name="T78" fmla="*/ 61053 w 602"/>
                  <a:gd name="T79" fmla="*/ 153097 h 51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02" h="510">
                    <a:moveTo>
                      <a:pt x="579" y="509"/>
                    </a:moveTo>
                    <a:lnTo>
                      <a:pt x="579" y="509"/>
                    </a:lnTo>
                    <a:cubicBezTo>
                      <a:pt x="21" y="509"/>
                      <a:pt x="21" y="509"/>
                      <a:pt x="21" y="509"/>
                    </a:cubicBezTo>
                    <a:cubicBezTo>
                      <a:pt x="7" y="509"/>
                      <a:pt x="0" y="502"/>
                      <a:pt x="0" y="488"/>
                    </a:cubicBezTo>
                    <a:cubicBezTo>
                      <a:pt x="0" y="481"/>
                      <a:pt x="0" y="481"/>
                      <a:pt x="0" y="481"/>
                    </a:cubicBezTo>
                    <a:cubicBezTo>
                      <a:pt x="0" y="467"/>
                      <a:pt x="7" y="452"/>
                      <a:pt x="21" y="452"/>
                    </a:cubicBezTo>
                    <a:cubicBezTo>
                      <a:pt x="579" y="452"/>
                      <a:pt x="579" y="452"/>
                      <a:pt x="579" y="452"/>
                    </a:cubicBezTo>
                    <a:cubicBezTo>
                      <a:pt x="594" y="452"/>
                      <a:pt x="601" y="467"/>
                      <a:pt x="601" y="481"/>
                    </a:cubicBezTo>
                    <a:cubicBezTo>
                      <a:pt x="601" y="488"/>
                      <a:pt x="601" y="488"/>
                      <a:pt x="601" y="488"/>
                    </a:cubicBezTo>
                    <a:cubicBezTo>
                      <a:pt x="601" y="502"/>
                      <a:pt x="594" y="509"/>
                      <a:pt x="579" y="509"/>
                    </a:cubicBezTo>
                    <a:close/>
                    <a:moveTo>
                      <a:pt x="487" y="424"/>
                    </a:moveTo>
                    <a:lnTo>
                      <a:pt x="487" y="424"/>
                    </a:lnTo>
                    <a:cubicBezTo>
                      <a:pt x="431" y="424"/>
                      <a:pt x="431" y="424"/>
                      <a:pt x="431" y="424"/>
                    </a:cubicBezTo>
                    <a:cubicBezTo>
                      <a:pt x="417" y="424"/>
                      <a:pt x="403" y="417"/>
                      <a:pt x="403" y="396"/>
                    </a:cubicBezTo>
                    <a:cubicBezTo>
                      <a:pt x="403" y="28"/>
                      <a:pt x="403" y="28"/>
                      <a:pt x="403" y="28"/>
                    </a:cubicBezTo>
                    <a:cubicBezTo>
                      <a:pt x="403" y="14"/>
                      <a:pt x="417" y="0"/>
                      <a:pt x="431" y="0"/>
                    </a:cubicBezTo>
                    <a:cubicBezTo>
                      <a:pt x="487" y="0"/>
                      <a:pt x="487" y="0"/>
                      <a:pt x="487" y="0"/>
                    </a:cubicBezTo>
                    <a:cubicBezTo>
                      <a:pt x="509" y="0"/>
                      <a:pt x="516" y="14"/>
                      <a:pt x="516" y="28"/>
                    </a:cubicBezTo>
                    <a:cubicBezTo>
                      <a:pt x="516" y="396"/>
                      <a:pt x="516" y="396"/>
                      <a:pt x="516" y="396"/>
                    </a:cubicBezTo>
                    <a:cubicBezTo>
                      <a:pt x="516" y="417"/>
                      <a:pt x="509" y="424"/>
                      <a:pt x="487" y="424"/>
                    </a:cubicBezTo>
                    <a:close/>
                    <a:moveTo>
                      <a:pt x="332" y="424"/>
                    </a:moveTo>
                    <a:lnTo>
                      <a:pt x="332" y="424"/>
                    </a:lnTo>
                    <a:cubicBezTo>
                      <a:pt x="276" y="424"/>
                      <a:pt x="276" y="424"/>
                      <a:pt x="276" y="424"/>
                    </a:cubicBezTo>
                    <a:cubicBezTo>
                      <a:pt x="254" y="424"/>
                      <a:pt x="247" y="417"/>
                      <a:pt x="247" y="396"/>
                    </a:cubicBezTo>
                    <a:cubicBezTo>
                      <a:pt x="247" y="163"/>
                      <a:pt x="247" y="163"/>
                      <a:pt x="247" y="163"/>
                    </a:cubicBezTo>
                    <a:cubicBezTo>
                      <a:pt x="247" y="149"/>
                      <a:pt x="254" y="134"/>
                      <a:pt x="276" y="134"/>
                    </a:cubicBezTo>
                    <a:cubicBezTo>
                      <a:pt x="332" y="134"/>
                      <a:pt x="332" y="134"/>
                      <a:pt x="332" y="134"/>
                    </a:cubicBezTo>
                    <a:cubicBezTo>
                      <a:pt x="346" y="134"/>
                      <a:pt x="360" y="149"/>
                      <a:pt x="360" y="163"/>
                    </a:cubicBezTo>
                    <a:cubicBezTo>
                      <a:pt x="360" y="396"/>
                      <a:pt x="360" y="396"/>
                      <a:pt x="360" y="396"/>
                    </a:cubicBezTo>
                    <a:cubicBezTo>
                      <a:pt x="360" y="417"/>
                      <a:pt x="346" y="424"/>
                      <a:pt x="332" y="424"/>
                    </a:cubicBezTo>
                    <a:close/>
                    <a:moveTo>
                      <a:pt x="169" y="424"/>
                    </a:moveTo>
                    <a:lnTo>
                      <a:pt x="169" y="424"/>
                    </a:lnTo>
                    <a:cubicBezTo>
                      <a:pt x="113" y="424"/>
                      <a:pt x="113" y="424"/>
                      <a:pt x="113" y="424"/>
                    </a:cubicBezTo>
                    <a:cubicBezTo>
                      <a:pt x="99" y="424"/>
                      <a:pt x="85" y="417"/>
                      <a:pt x="85" y="396"/>
                    </a:cubicBezTo>
                    <a:cubicBezTo>
                      <a:pt x="85" y="297"/>
                      <a:pt x="85" y="297"/>
                      <a:pt x="85" y="297"/>
                    </a:cubicBezTo>
                    <a:cubicBezTo>
                      <a:pt x="85" y="276"/>
                      <a:pt x="99" y="269"/>
                      <a:pt x="113" y="269"/>
                    </a:cubicBezTo>
                    <a:cubicBezTo>
                      <a:pt x="169" y="269"/>
                      <a:pt x="169" y="269"/>
                      <a:pt x="169" y="269"/>
                    </a:cubicBezTo>
                    <a:cubicBezTo>
                      <a:pt x="184" y="269"/>
                      <a:pt x="198" y="276"/>
                      <a:pt x="198" y="297"/>
                    </a:cubicBezTo>
                    <a:cubicBezTo>
                      <a:pt x="198" y="396"/>
                      <a:pt x="198" y="396"/>
                      <a:pt x="198" y="396"/>
                    </a:cubicBezTo>
                    <a:cubicBezTo>
                      <a:pt x="198" y="417"/>
                      <a:pt x="184" y="424"/>
                      <a:pt x="169" y="42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06" name="Freeform 47">
                <a:extLst>
                  <a:ext uri="{FF2B5EF4-FFF2-40B4-BE49-F238E27FC236}">
                    <a16:creationId xmlns:a16="http://schemas.microsoft.com/office/drawing/2014/main" id="{2F60E8B0-ED60-42E9-93BA-DEDC568A9E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7295" y="1636681"/>
                <a:ext cx="385369" cy="338574"/>
              </a:xfrm>
              <a:custGeom>
                <a:avLst/>
                <a:gdLst>
                  <a:gd name="T0" fmla="*/ 221804 w 498"/>
                  <a:gd name="T1" fmla="*/ 194813 h 435"/>
                  <a:gd name="T2" fmla="*/ 221804 w 498"/>
                  <a:gd name="T3" fmla="*/ 194813 h 435"/>
                  <a:gd name="T4" fmla="*/ 217341 w 498"/>
                  <a:gd name="T5" fmla="*/ 147232 h 435"/>
                  <a:gd name="T6" fmla="*/ 189671 w 498"/>
                  <a:gd name="T7" fmla="*/ 131521 h 435"/>
                  <a:gd name="T8" fmla="*/ 166018 w 498"/>
                  <a:gd name="T9" fmla="*/ 103691 h 435"/>
                  <a:gd name="T10" fmla="*/ 174051 w 498"/>
                  <a:gd name="T11" fmla="*/ 87980 h 435"/>
                  <a:gd name="T12" fmla="*/ 182084 w 498"/>
                  <a:gd name="T13" fmla="*/ 71372 h 435"/>
                  <a:gd name="T14" fmla="*/ 178068 w 498"/>
                  <a:gd name="T15" fmla="*/ 67781 h 435"/>
                  <a:gd name="T16" fmla="*/ 182084 w 498"/>
                  <a:gd name="T17" fmla="*/ 51621 h 435"/>
                  <a:gd name="T18" fmla="*/ 154415 w 498"/>
                  <a:gd name="T19" fmla="*/ 27830 h 435"/>
                  <a:gd name="T20" fmla="*/ 126745 w 498"/>
                  <a:gd name="T21" fmla="*/ 51621 h 435"/>
                  <a:gd name="T22" fmla="*/ 130762 w 498"/>
                  <a:gd name="T23" fmla="*/ 67781 h 435"/>
                  <a:gd name="T24" fmla="*/ 126745 w 498"/>
                  <a:gd name="T25" fmla="*/ 71372 h 435"/>
                  <a:gd name="T26" fmla="*/ 134778 w 498"/>
                  <a:gd name="T27" fmla="*/ 87980 h 435"/>
                  <a:gd name="T28" fmla="*/ 138795 w 498"/>
                  <a:gd name="T29" fmla="*/ 103691 h 435"/>
                  <a:gd name="T30" fmla="*/ 130762 w 498"/>
                  <a:gd name="T31" fmla="*/ 123441 h 435"/>
                  <a:gd name="T32" fmla="*/ 170035 w 498"/>
                  <a:gd name="T33" fmla="*/ 163392 h 435"/>
                  <a:gd name="T34" fmla="*/ 170035 w 498"/>
                  <a:gd name="T35" fmla="*/ 194813 h 435"/>
                  <a:gd name="T36" fmla="*/ 221804 w 498"/>
                  <a:gd name="T37" fmla="*/ 194813 h 435"/>
                  <a:gd name="T38" fmla="*/ 115142 w 498"/>
                  <a:gd name="T39" fmla="*/ 135561 h 435"/>
                  <a:gd name="T40" fmla="*/ 115142 w 498"/>
                  <a:gd name="T41" fmla="*/ 135561 h 435"/>
                  <a:gd name="T42" fmla="*/ 83455 w 498"/>
                  <a:gd name="T43" fmla="*/ 103691 h 435"/>
                  <a:gd name="T44" fmla="*/ 95059 w 498"/>
                  <a:gd name="T45" fmla="*/ 75412 h 435"/>
                  <a:gd name="T46" fmla="*/ 103092 w 498"/>
                  <a:gd name="T47" fmla="*/ 59701 h 435"/>
                  <a:gd name="T48" fmla="*/ 99075 w 498"/>
                  <a:gd name="T49" fmla="*/ 51621 h 435"/>
                  <a:gd name="T50" fmla="*/ 103092 w 498"/>
                  <a:gd name="T51" fmla="*/ 31870 h 435"/>
                  <a:gd name="T52" fmla="*/ 67389 w 498"/>
                  <a:gd name="T53" fmla="*/ 0 h 435"/>
                  <a:gd name="T54" fmla="*/ 31686 w 498"/>
                  <a:gd name="T55" fmla="*/ 31870 h 435"/>
                  <a:gd name="T56" fmla="*/ 31686 w 498"/>
                  <a:gd name="T57" fmla="*/ 51621 h 435"/>
                  <a:gd name="T58" fmla="*/ 31686 w 498"/>
                  <a:gd name="T59" fmla="*/ 59701 h 435"/>
                  <a:gd name="T60" fmla="*/ 39719 w 498"/>
                  <a:gd name="T61" fmla="*/ 75412 h 435"/>
                  <a:gd name="T62" fmla="*/ 47753 w 498"/>
                  <a:gd name="T63" fmla="*/ 103691 h 435"/>
                  <a:gd name="T64" fmla="*/ 20083 w 498"/>
                  <a:gd name="T65" fmla="*/ 135561 h 435"/>
                  <a:gd name="T66" fmla="*/ 0 w 498"/>
                  <a:gd name="T67" fmla="*/ 155312 h 435"/>
                  <a:gd name="T68" fmla="*/ 0 w 498"/>
                  <a:gd name="T69" fmla="*/ 194813 h 435"/>
                  <a:gd name="T70" fmla="*/ 154415 w 498"/>
                  <a:gd name="T71" fmla="*/ 194813 h 435"/>
                  <a:gd name="T72" fmla="*/ 154415 w 498"/>
                  <a:gd name="T73" fmla="*/ 163392 h 435"/>
                  <a:gd name="T74" fmla="*/ 115142 w 498"/>
                  <a:gd name="T75" fmla="*/ 135561 h 435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98" h="435">
                    <a:moveTo>
                      <a:pt x="497" y="434"/>
                    </a:moveTo>
                    <a:lnTo>
                      <a:pt x="497" y="434"/>
                    </a:lnTo>
                    <a:cubicBezTo>
                      <a:pt x="497" y="434"/>
                      <a:pt x="497" y="337"/>
                      <a:pt x="487" y="328"/>
                    </a:cubicBezTo>
                    <a:cubicBezTo>
                      <a:pt x="479" y="319"/>
                      <a:pt x="462" y="302"/>
                      <a:pt x="425" y="293"/>
                    </a:cubicBezTo>
                    <a:cubicBezTo>
                      <a:pt x="390" y="275"/>
                      <a:pt x="372" y="257"/>
                      <a:pt x="372" y="231"/>
                    </a:cubicBezTo>
                    <a:cubicBezTo>
                      <a:pt x="372" y="213"/>
                      <a:pt x="390" y="222"/>
                      <a:pt x="390" y="196"/>
                    </a:cubicBezTo>
                    <a:cubicBezTo>
                      <a:pt x="390" y="178"/>
                      <a:pt x="408" y="196"/>
                      <a:pt x="408" y="159"/>
                    </a:cubicBezTo>
                    <a:cubicBezTo>
                      <a:pt x="408" y="151"/>
                      <a:pt x="399" y="151"/>
                      <a:pt x="399" y="151"/>
                    </a:cubicBezTo>
                    <a:cubicBezTo>
                      <a:pt x="399" y="151"/>
                      <a:pt x="408" y="133"/>
                      <a:pt x="408" y="115"/>
                    </a:cubicBezTo>
                    <a:cubicBezTo>
                      <a:pt x="408" y="98"/>
                      <a:pt x="399" y="62"/>
                      <a:pt x="346" y="62"/>
                    </a:cubicBezTo>
                    <a:cubicBezTo>
                      <a:pt x="293" y="62"/>
                      <a:pt x="284" y="98"/>
                      <a:pt x="284" y="115"/>
                    </a:cubicBezTo>
                    <a:cubicBezTo>
                      <a:pt x="284" y="133"/>
                      <a:pt x="293" y="151"/>
                      <a:pt x="293" y="151"/>
                    </a:cubicBezTo>
                    <a:cubicBezTo>
                      <a:pt x="293" y="151"/>
                      <a:pt x="284" y="151"/>
                      <a:pt x="284" y="159"/>
                    </a:cubicBezTo>
                    <a:cubicBezTo>
                      <a:pt x="284" y="196"/>
                      <a:pt x="293" y="178"/>
                      <a:pt x="302" y="196"/>
                    </a:cubicBezTo>
                    <a:cubicBezTo>
                      <a:pt x="302" y="222"/>
                      <a:pt x="311" y="213"/>
                      <a:pt x="311" y="231"/>
                    </a:cubicBezTo>
                    <a:cubicBezTo>
                      <a:pt x="311" y="249"/>
                      <a:pt x="311" y="266"/>
                      <a:pt x="293" y="275"/>
                    </a:cubicBezTo>
                    <a:cubicBezTo>
                      <a:pt x="372" y="319"/>
                      <a:pt x="381" y="319"/>
                      <a:pt x="381" y="364"/>
                    </a:cubicBezTo>
                    <a:cubicBezTo>
                      <a:pt x="381" y="434"/>
                      <a:pt x="381" y="434"/>
                      <a:pt x="381" y="434"/>
                    </a:cubicBezTo>
                    <a:lnTo>
                      <a:pt x="497" y="434"/>
                    </a:lnTo>
                    <a:close/>
                    <a:moveTo>
                      <a:pt x="258" y="302"/>
                    </a:moveTo>
                    <a:lnTo>
                      <a:pt x="258" y="302"/>
                    </a:lnTo>
                    <a:cubicBezTo>
                      <a:pt x="204" y="284"/>
                      <a:pt x="187" y="266"/>
                      <a:pt x="187" y="231"/>
                    </a:cubicBezTo>
                    <a:cubicBezTo>
                      <a:pt x="187" y="204"/>
                      <a:pt x="204" y="213"/>
                      <a:pt x="213" y="168"/>
                    </a:cubicBezTo>
                    <a:cubicBezTo>
                      <a:pt x="213" y="159"/>
                      <a:pt x="231" y="168"/>
                      <a:pt x="231" y="133"/>
                    </a:cubicBezTo>
                    <a:cubicBezTo>
                      <a:pt x="231" y="115"/>
                      <a:pt x="222" y="115"/>
                      <a:pt x="222" y="115"/>
                    </a:cubicBezTo>
                    <a:cubicBezTo>
                      <a:pt x="222" y="115"/>
                      <a:pt x="222" y="89"/>
                      <a:pt x="231" y="71"/>
                    </a:cubicBezTo>
                    <a:cubicBezTo>
                      <a:pt x="231" y="53"/>
                      <a:pt x="213" y="0"/>
                      <a:pt x="151" y="0"/>
                    </a:cubicBezTo>
                    <a:cubicBezTo>
                      <a:pt x="80" y="0"/>
                      <a:pt x="71" y="53"/>
                      <a:pt x="71" y="71"/>
                    </a:cubicBezTo>
                    <a:cubicBezTo>
                      <a:pt x="71" y="89"/>
                      <a:pt x="71" y="115"/>
                      <a:pt x="71" y="115"/>
                    </a:cubicBezTo>
                    <a:cubicBezTo>
                      <a:pt x="71" y="115"/>
                      <a:pt x="71" y="115"/>
                      <a:pt x="71" y="133"/>
                    </a:cubicBezTo>
                    <a:cubicBezTo>
                      <a:pt x="71" y="168"/>
                      <a:pt x="80" y="159"/>
                      <a:pt x="89" y="168"/>
                    </a:cubicBezTo>
                    <a:cubicBezTo>
                      <a:pt x="89" y="213"/>
                      <a:pt x="107" y="204"/>
                      <a:pt x="107" y="231"/>
                    </a:cubicBezTo>
                    <a:cubicBezTo>
                      <a:pt x="107" y="266"/>
                      <a:pt x="89" y="284"/>
                      <a:pt x="45" y="302"/>
                    </a:cubicBezTo>
                    <a:cubicBezTo>
                      <a:pt x="27" y="310"/>
                      <a:pt x="0" y="319"/>
                      <a:pt x="0" y="346"/>
                    </a:cubicBezTo>
                    <a:cubicBezTo>
                      <a:pt x="0" y="434"/>
                      <a:pt x="0" y="434"/>
                      <a:pt x="0" y="434"/>
                    </a:cubicBezTo>
                    <a:cubicBezTo>
                      <a:pt x="346" y="434"/>
                      <a:pt x="346" y="434"/>
                      <a:pt x="346" y="434"/>
                    </a:cubicBezTo>
                    <a:cubicBezTo>
                      <a:pt x="346" y="434"/>
                      <a:pt x="346" y="381"/>
                      <a:pt x="346" y="364"/>
                    </a:cubicBezTo>
                    <a:cubicBezTo>
                      <a:pt x="346" y="346"/>
                      <a:pt x="302" y="328"/>
                      <a:pt x="258" y="3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7" name="Freeform 29">
                <a:extLst>
                  <a:ext uri="{FF2B5EF4-FFF2-40B4-BE49-F238E27FC236}">
                    <a16:creationId xmlns:a16="http://schemas.microsoft.com/office/drawing/2014/main" id="{0524F903-BC82-44E8-8408-86E35C07E1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662289" y="2459911"/>
                <a:ext cx="392240" cy="404691"/>
              </a:xfrm>
              <a:custGeom>
                <a:avLst/>
                <a:gdLst>
                  <a:gd name="T0" fmla="*/ 111726 w 444"/>
                  <a:gd name="T1" fmla="*/ 150538 h 462"/>
                  <a:gd name="T2" fmla="*/ 111726 w 444"/>
                  <a:gd name="T3" fmla="*/ 150538 h 462"/>
                  <a:gd name="T4" fmla="*/ 144162 w 444"/>
                  <a:gd name="T5" fmla="*/ 114802 h 462"/>
                  <a:gd name="T6" fmla="*/ 199574 w 444"/>
                  <a:gd name="T7" fmla="*/ 31716 h 462"/>
                  <a:gd name="T8" fmla="*/ 191916 w 444"/>
                  <a:gd name="T9" fmla="*/ 23675 h 462"/>
                  <a:gd name="T10" fmla="*/ 155875 w 444"/>
                  <a:gd name="T11" fmla="*/ 23675 h 462"/>
                  <a:gd name="T12" fmla="*/ 100013 w 444"/>
                  <a:gd name="T13" fmla="*/ 0 h 462"/>
                  <a:gd name="T14" fmla="*/ 44150 w 444"/>
                  <a:gd name="T15" fmla="*/ 23675 h 462"/>
                  <a:gd name="T16" fmla="*/ 8109 w 444"/>
                  <a:gd name="T17" fmla="*/ 23675 h 462"/>
                  <a:gd name="T18" fmla="*/ 0 w 444"/>
                  <a:gd name="T19" fmla="*/ 31716 h 462"/>
                  <a:gd name="T20" fmla="*/ 55863 w 444"/>
                  <a:gd name="T21" fmla="*/ 114802 h 462"/>
                  <a:gd name="T22" fmla="*/ 87849 w 444"/>
                  <a:gd name="T23" fmla="*/ 150538 h 462"/>
                  <a:gd name="T24" fmla="*/ 87849 w 444"/>
                  <a:gd name="T25" fmla="*/ 166172 h 462"/>
                  <a:gd name="T26" fmla="*/ 48204 w 444"/>
                  <a:gd name="T27" fmla="*/ 185827 h 462"/>
                  <a:gd name="T28" fmla="*/ 100013 w 444"/>
                  <a:gd name="T29" fmla="*/ 205928 h 462"/>
                  <a:gd name="T30" fmla="*/ 147766 w 444"/>
                  <a:gd name="T31" fmla="*/ 185827 h 462"/>
                  <a:gd name="T32" fmla="*/ 111726 w 444"/>
                  <a:gd name="T33" fmla="*/ 166172 h 462"/>
                  <a:gd name="T34" fmla="*/ 111726 w 444"/>
                  <a:gd name="T35" fmla="*/ 150538 h 462"/>
                  <a:gd name="T36" fmla="*/ 144162 w 444"/>
                  <a:gd name="T37" fmla="*/ 94700 h 462"/>
                  <a:gd name="T38" fmla="*/ 144162 w 444"/>
                  <a:gd name="T39" fmla="*/ 94700 h 462"/>
                  <a:gd name="T40" fmla="*/ 155875 w 444"/>
                  <a:gd name="T41" fmla="*/ 39756 h 462"/>
                  <a:gd name="T42" fmla="*/ 183807 w 444"/>
                  <a:gd name="T43" fmla="*/ 39756 h 462"/>
                  <a:gd name="T44" fmla="*/ 144162 w 444"/>
                  <a:gd name="T45" fmla="*/ 94700 h 462"/>
                  <a:gd name="T46" fmla="*/ 100013 w 444"/>
                  <a:gd name="T47" fmla="*/ 16081 h 462"/>
                  <a:gd name="T48" fmla="*/ 100013 w 444"/>
                  <a:gd name="T49" fmla="*/ 16081 h 462"/>
                  <a:gd name="T50" fmla="*/ 144162 w 444"/>
                  <a:gd name="T51" fmla="*/ 31716 h 462"/>
                  <a:gd name="T52" fmla="*/ 100013 w 444"/>
                  <a:gd name="T53" fmla="*/ 51370 h 462"/>
                  <a:gd name="T54" fmla="*/ 55863 w 444"/>
                  <a:gd name="T55" fmla="*/ 31716 h 462"/>
                  <a:gd name="T56" fmla="*/ 100013 w 444"/>
                  <a:gd name="T57" fmla="*/ 16081 h 462"/>
                  <a:gd name="T58" fmla="*/ 16218 w 444"/>
                  <a:gd name="T59" fmla="*/ 39756 h 462"/>
                  <a:gd name="T60" fmla="*/ 16218 w 444"/>
                  <a:gd name="T61" fmla="*/ 39756 h 462"/>
                  <a:gd name="T62" fmla="*/ 44150 w 444"/>
                  <a:gd name="T63" fmla="*/ 39756 h 462"/>
                  <a:gd name="T64" fmla="*/ 55863 w 444"/>
                  <a:gd name="T65" fmla="*/ 94700 h 462"/>
                  <a:gd name="T66" fmla="*/ 16218 w 444"/>
                  <a:gd name="T67" fmla="*/ 39756 h 46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444" h="462">
                    <a:moveTo>
                      <a:pt x="248" y="337"/>
                    </a:moveTo>
                    <a:lnTo>
                      <a:pt x="248" y="337"/>
                    </a:lnTo>
                    <a:cubicBezTo>
                      <a:pt x="248" y="302"/>
                      <a:pt x="275" y="283"/>
                      <a:pt x="320" y="257"/>
                    </a:cubicBezTo>
                    <a:cubicBezTo>
                      <a:pt x="373" y="221"/>
                      <a:pt x="443" y="177"/>
                      <a:pt x="443" y="71"/>
                    </a:cubicBezTo>
                    <a:cubicBezTo>
                      <a:pt x="443" y="62"/>
                      <a:pt x="434" y="53"/>
                      <a:pt x="426" y="53"/>
                    </a:cubicBezTo>
                    <a:cubicBezTo>
                      <a:pt x="346" y="53"/>
                      <a:pt x="346" y="53"/>
                      <a:pt x="346" y="53"/>
                    </a:cubicBezTo>
                    <a:cubicBezTo>
                      <a:pt x="328" y="27"/>
                      <a:pt x="293" y="0"/>
                      <a:pt x="222" y="0"/>
                    </a:cubicBezTo>
                    <a:cubicBezTo>
                      <a:pt x="151" y="0"/>
                      <a:pt x="116" y="27"/>
                      <a:pt x="98" y="53"/>
                    </a:cubicBezTo>
                    <a:cubicBezTo>
                      <a:pt x="18" y="53"/>
                      <a:pt x="18" y="53"/>
                      <a:pt x="18" y="53"/>
                    </a:cubicBezTo>
                    <a:cubicBezTo>
                      <a:pt x="9" y="53"/>
                      <a:pt x="0" y="62"/>
                      <a:pt x="0" y="71"/>
                    </a:cubicBezTo>
                    <a:cubicBezTo>
                      <a:pt x="0" y="177"/>
                      <a:pt x="62" y="221"/>
                      <a:pt x="124" y="257"/>
                    </a:cubicBezTo>
                    <a:cubicBezTo>
                      <a:pt x="169" y="283"/>
                      <a:pt x="195" y="302"/>
                      <a:pt x="195" y="337"/>
                    </a:cubicBezTo>
                    <a:cubicBezTo>
                      <a:pt x="195" y="372"/>
                      <a:pt x="195" y="372"/>
                      <a:pt x="195" y="372"/>
                    </a:cubicBezTo>
                    <a:cubicBezTo>
                      <a:pt x="142" y="381"/>
                      <a:pt x="107" y="399"/>
                      <a:pt x="107" y="416"/>
                    </a:cubicBezTo>
                    <a:cubicBezTo>
                      <a:pt x="107" y="443"/>
                      <a:pt x="160" y="461"/>
                      <a:pt x="222" y="461"/>
                    </a:cubicBezTo>
                    <a:cubicBezTo>
                      <a:pt x="283" y="461"/>
                      <a:pt x="328" y="443"/>
                      <a:pt x="328" y="416"/>
                    </a:cubicBezTo>
                    <a:cubicBezTo>
                      <a:pt x="328" y="399"/>
                      <a:pt x="302" y="381"/>
                      <a:pt x="248" y="372"/>
                    </a:cubicBezTo>
                    <a:lnTo>
                      <a:pt x="248" y="337"/>
                    </a:lnTo>
                    <a:close/>
                    <a:moveTo>
                      <a:pt x="320" y="212"/>
                    </a:moveTo>
                    <a:lnTo>
                      <a:pt x="320" y="212"/>
                    </a:lnTo>
                    <a:cubicBezTo>
                      <a:pt x="337" y="186"/>
                      <a:pt x="346" y="142"/>
                      <a:pt x="346" y="89"/>
                    </a:cubicBezTo>
                    <a:cubicBezTo>
                      <a:pt x="408" y="89"/>
                      <a:pt x="408" y="89"/>
                      <a:pt x="408" y="89"/>
                    </a:cubicBezTo>
                    <a:cubicBezTo>
                      <a:pt x="399" y="151"/>
                      <a:pt x="364" y="186"/>
                      <a:pt x="320" y="212"/>
                    </a:cubicBezTo>
                    <a:close/>
                    <a:moveTo>
                      <a:pt x="222" y="36"/>
                    </a:moveTo>
                    <a:lnTo>
                      <a:pt x="222" y="36"/>
                    </a:lnTo>
                    <a:cubicBezTo>
                      <a:pt x="293" y="36"/>
                      <a:pt x="320" y="62"/>
                      <a:pt x="320" y="71"/>
                    </a:cubicBezTo>
                    <a:cubicBezTo>
                      <a:pt x="320" y="80"/>
                      <a:pt x="293" y="106"/>
                      <a:pt x="222" y="115"/>
                    </a:cubicBezTo>
                    <a:cubicBezTo>
                      <a:pt x="151" y="106"/>
                      <a:pt x="124" y="80"/>
                      <a:pt x="124" y="71"/>
                    </a:cubicBezTo>
                    <a:cubicBezTo>
                      <a:pt x="124" y="62"/>
                      <a:pt x="151" y="36"/>
                      <a:pt x="222" y="36"/>
                    </a:cubicBezTo>
                    <a:close/>
                    <a:moveTo>
                      <a:pt x="36" y="89"/>
                    </a:moveTo>
                    <a:lnTo>
                      <a:pt x="36" y="89"/>
                    </a:lnTo>
                    <a:cubicBezTo>
                      <a:pt x="98" y="89"/>
                      <a:pt x="98" y="89"/>
                      <a:pt x="98" y="89"/>
                    </a:cubicBezTo>
                    <a:cubicBezTo>
                      <a:pt x="98" y="142"/>
                      <a:pt x="107" y="186"/>
                      <a:pt x="124" y="212"/>
                    </a:cubicBezTo>
                    <a:cubicBezTo>
                      <a:pt x="80" y="186"/>
                      <a:pt x="36" y="151"/>
                      <a:pt x="36" y="8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8" name="Freeform 20">
                <a:extLst>
                  <a:ext uri="{FF2B5EF4-FFF2-40B4-BE49-F238E27FC236}">
                    <a16:creationId xmlns:a16="http://schemas.microsoft.com/office/drawing/2014/main" id="{B05D38BB-CF0F-436B-8128-2C0735F3C0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08967" y="3216192"/>
                <a:ext cx="393981" cy="399568"/>
              </a:xfrm>
              <a:custGeom>
                <a:avLst/>
                <a:gdLst>
                  <a:gd name="T0" fmla="*/ 211227 w 497"/>
                  <a:gd name="T1" fmla="*/ 3596 h 505"/>
                  <a:gd name="T2" fmla="*/ 211227 w 497"/>
                  <a:gd name="T3" fmla="*/ 3596 h 505"/>
                  <a:gd name="T4" fmla="*/ 203571 w 497"/>
                  <a:gd name="T5" fmla="*/ 0 h 505"/>
                  <a:gd name="T6" fmla="*/ 199518 w 497"/>
                  <a:gd name="T7" fmla="*/ 7642 h 505"/>
                  <a:gd name="T8" fmla="*/ 171594 w 497"/>
                  <a:gd name="T9" fmla="*/ 75521 h 505"/>
                  <a:gd name="T10" fmla="*/ 167541 w 497"/>
                  <a:gd name="T11" fmla="*/ 63384 h 505"/>
                  <a:gd name="T12" fmla="*/ 155831 w 497"/>
                  <a:gd name="T13" fmla="*/ 59338 h 505"/>
                  <a:gd name="T14" fmla="*/ 119350 w 497"/>
                  <a:gd name="T15" fmla="*/ 59338 h 505"/>
                  <a:gd name="T16" fmla="*/ 108091 w 497"/>
                  <a:gd name="T17" fmla="*/ 63384 h 505"/>
                  <a:gd name="T18" fmla="*/ 4053 w 497"/>
                  <a:gd name="T19" fmla="*/ 134859 h 505"/>
                  <a:gd name="T20" fmla="*/ 4053 w 497"/>
                  <a:gd name="T21" fmla="*/ 151042 h 505"/>
                  <a:gd name="T22" fmla="*/ 47740 w 497"/>
                  <a:gd name="T23" fmla="*/ 218472 h 505"/>
                  <a:gd name="T24" fmla="*/ 63954 w 497"/>
                  <a:gd name="T25" fmla="*/ 222518 h 505"/>
                  <a:gd name="T26" fmla="*/ 167541 w 497"/>
                  <a:gd name="T27" fmla="*/ 146997 h 505"/>
                  <a:gd name="T28" fmla="*/ 175648 w 497"/>
                  <a:gd name="T29" fmla="*/ 138905 h 505"/>
                  <a:gd name="T30" fmla="*/ 187357 w 497"/>
                  <a:gd name="T31" fmla="*/ 102943 h 505"/>
                  <a:gd name="T32" fmla="*/ 183754 w 497"/>
                  <a:gd name="T33" fmla="*/ 91255 h 505"/>
                  <a:gd name="T34" fmla="*/ 179701 w 497"/>
                  <a:gd name="T35" fmla="*/ 83163 h 505"/>
                  <a:gd name="T36" fmla="*/ 211227 w 497"/>
                  <a:gd name="T37" fmla="*/ 3596 h 505"/>
                  <a:gd name="T38" fmla="*/ 163487 w 497"/>
                  <a:gd name="T39" fmla="*/ 111034 h 505"/>
                  <a:gd name="T40" fmla="*/ 163487 w 497"/>
                  <a:gd name="T41" fmla="*/ 111034 h 505"/>
                  <a:gd name="T42" fmla="*/ 139617 w 497"/>
                  <a:gd name="T43" fmla="*/ 102943 h 505"/>
                  <a:gd name="T44" fmla="*/ 143671 w 497"/>
                  <a:gd name="T45" fmla="*/ 79117 h 505"/>
                  <a:gd name="T46" fmla="*/ 163487 w 497"/>
                  <a:gd name="T47" fmla="*/ 79117 h 505"/>
                  <a:gd name="T48" fmla="*/ 159884 w 497"/>
                  <a:gd name="T49" fmla="*/ 83163 h 505"/>
                  <a:gd name="T50" fmla="*/ 155831 w 497"/>
                  <a:gd name="T51" fmla="*/ 91255 h 505"/>
                  <a:gd name="T52" fmla="*/ 159884 w 497"/>
                  <a:gd name="T53" fmla="*/ 95301 h 505"/>
                  <a:gd name="T54" fmla="*/ 163487 w 497"/>
                  <a:gd name="T55" fmla="*/ 95301 h 505"/>
                  <a:gd name="T56" fmla="*/ 171594 w 497"/>
                  <a:gd name="T57" fmla="*/ 91255 h 505"/>
                  <a:gd name="T58" fmla="*/ 163487 w 497"/>
                  <a:gd name="T59" fmla="*/ 111034 h 50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497" h="505">
                    <a:moveTo>
                      <a:pt x="469" y="8"/>
                    </a:moveTo>
                    <a:lnTo>
                      <a:pt x="469" y="8"/>
                    </a:lnTo>
                    <a:cubicBezTo>
                      <a:pt x="469" y="8"/>
                      <a:pt x="461" y="0"/>
                      <a:pt x="452" y="0"/>
                    </a:cubicBezTo>
                    <a:cubicBezTo>
                      <a:pt x="443" y="8"/>
                      <a:pt x="443" y="17"/>
                      <a:pt x="443" y="17"/>
                    </a:cubicBezTo>
                    <a:cubicBezTo>
                      <a:pt x="461" y="88"/>
                      <a:pt x="416" y="141"/>
                      <a:pt x="381" y="168"/>
                    </a:cubicBezTo>
                    <a:cubicBezTo>
                      <a:pt x="372" y="141"/>
                      <a:pt x="372" y="141"/>
                      <a:pt x="372" y="141"/>
                    </a:cubicBezTo>
                    <a:cubicBezTo>
                      <a:pt x="363" y="141"/>
                      <a:pt x="355" y="132"/>
                      <a:pt x="346" y="132"/>
                    </a:cubicBezTo>
                    <a:cubicBezTo>
                      <a:pt x="265" y="132"/>
                      <a:pt x="265" y="132"/>
                      <a:pt x="265" y="132"/>
                    </a:cubicBezTo>
                    <a:cubicBezTo>
                      <a:pt x="257" y="132"/>
                      <a:pt x="248" y="132"/>
                      <a:pt x="240" y="141"/>
                    </a:cubicBezTo>
                    <a:cubicBezTo>
                      <a:pt x="9" y="300"/>
                      <a:pt x="9" y="300"/>
                      <a:pt x="9" y="300"/>
                    </a:cubicBezTo>
                    <a:cubicBezTo>
                      <a:pt x="0" y="309"/>
                      <a:pt x="0" y="327"/>
                      <a:pt x="9" y="336"/>
                    </a:cubicBezTo>
                    <a:cubicBezTo>
                      <a:pt x="106" y="486"/>
                      <a:pt x="106" y="486"/>
                      <a:pt x="106" y="486"/>
                    </a:cubicBezTo>
                    <a:cubicBezTo>
                      <a:pt x="115" y="504"/>
                      <a:pt x="133" y="495"/>
                      <a:pt x="142" y="495"/>
                    </a:cubicBezTo>
                    <a:cubicBezTo>
                      <a:pt x="372" y="327"/>
                      <a:pt x="372" y="327"/>
                      <a:pt x="372" y="327"/>
                    </a:cubicBezTo>
                    <a:cubicBezTo>
                      <a:pt x="381" y="327"/>
                      <a:pt x="390" y="309"/>
                      <a:pt x="390" y="309"/>
                    </a:cubicBezTo>
                    <a:cubicBezTo>
                      <a:pt x="416" y="229"/>
                      <a:pt x="416" y="229"/>
                      <a:pt x="416" y="229"/>
                    </a:cubicBezTo>
                    <a:cubicBezTo>
                      <a:pt x="416" y="221"/>
                      <a:pt x="416" y="212"/>
                      <a:pt x="408" y="203"/>
                    </a:cubicBezTo>
                    <a:cubicBezTo>
                      <a:pt x="399" y="185"/>
                      <a:pt x="399" y="185"/>
                      <a:pt x="399" y="185"/>
                    </a:cubicBezTo>
                    <a:cubicBezTo>
                      <a:pt x="452" y="150"/>
                      <a:pt x="496" y="88"/>
                      <a:pt x="469" y="8"/>
                    </a:cubicBezTo>
                    <a:close/>
                    <a:moveTo>
                      <a:pt x="363" y="247"/>
                    </a:moveTo>
                    <a:lnTo>
                      <a:pt x="363" y="247"/>
                    </a:lnTo>
                    <a:cubicBezTo>
                      <a:pt x="346" y="256"/>
                      <a:pt x="319" y="256"/>
                      <a:pt x="310" y="229"/>
                    </a:cubicBezTo>
                    <a:cubicBezTo>
                      <a:pt x="293" y="212"/>
                      <a:pt x="301" y="194"/>
                      <a:pt x="319" y="176"/>
                    </a:cubicBezTo>
                    <a:cubicBezTo>
                      <a:pt x="328" y="168"/>
                      <a:pt x="346" y="168"/>
                      <a:pt x="363" y="176"/>
                    </a:cubicBezTo>
                    <a:cubicBezTo>
                      <a:pt x="355" y="185"/>
                      <a:pt x="355" y="185"/>
                      <a:pt x="355" y="185"/>
                    </a:cubicBezTo>
                    <a:cubicBezTo>
                      <a:pt x="346" y="185"/>
                      <a:pt x="337" y="194"/>
                      <a:pt x="346" y="203"/>
                    </a:cubicBezTo>
                    <a:cubicBezTo>
                      <a:pt x="346" y="212"/>
                      <a:pt x="355" y="212"/>
                      <a:pt x="355" y="212"/>
                    </a:cubicBezTo>
                    <a:cubicBezTo>
                      <a:pt x="363" y="212"/>
                      <a:pt x="363" y="212"/>
                      <a:pt x="363" y="212"/>
                    </a:cubicBezTo>
                    <a:cubicBezTo>
                      <a:pt x="372" y="212"/>
                      <a:pt x="372" y="212"/>
                      <a:pt x="381" y="203"/>
                    </a:cubicBezTo>
                    <a:cubicBezTo>
                      <a:pt x="381" y="221"/>
                      <a:pt x="372" y="238"/>
                      <a:pt x="363" y="2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b="1" dirty="0">
                  <a:latin typeface="Raleway" panose="020B0503030101060003" pitchFamily="34" charset="0"/>
                </a:endParaRPr>
              </a:p>
            </p:txBody>
          </p:sp>
          <p:sp>
            <p:nvSpPr>
              <p:cNvPr id="109" name="Freeform 116">
                <a:extLst>
                  <a:ext uri="{FF2B5EF4-FFF2-40B4-BE49-F238E27FC236}">
                    <a16:creationId xmlns:a16="http://schemas.microsoft.com/office/drawing/2014/main" id="{C220F6F0-6E87-4DBE-9172-DE32ADAE8C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6881" y="803743"/>
                <a:ext cx="387035" cy="399321"/>
              </a:xfrm>
              <a:custGeom>
                <a:avLst/>
                <a:gdLst>
                  <a:gd name="T0" fmla="*/ 179798 w 445"/>
                  <a:gd name="T1" fmla="*/ 71025 h 462"/>
                  <a:gd name="T2" fmla="*/ 179798 w 445"/>
                  <a:gd name="T3" fmla="*/ 71025 h 462"/>
                  <a:gd name="T4" fmla="*/ 119566 w 445"/>
                  <a:gd name="T5" fmla="*/ 3574 h 462"/>
                  <a:gd name="T6" fmla="*/ 16182 w 445"/>
                  <a:gd name="T7" fmla="*/ 110781 h 462"/>
                  <a:gd name="T8" fmla="*/ 4045 w 445"/>
                  <a:gd name="T9" fmla="*/ 142497 h 462"/>
                  <a:gd name="T10" fmla="*/ 36409 w 445"/>
                  <a:gd name="T11" fmla="*/ 158578 h 462"/>
                  <a:gd name="T12" fmla="*/ 44050 w 445"/>
                  <a:gd name="T13" fmla="*/ 154558 h 462"/>
                  <a:gd name="T14" fmla="*/ 60232 w 445"/>
                  <a:gd name="T15" fmla="*/ 166172 h 462"/>
                  <a:gd name="T16" fmla="*/ 71919 w 445"/>
                  <a:gd name="T17" fmla="*/ 193867 h 462"/>
                  <a:gd name="T18" fmla="*/ 84055 w 445"/>
                  <a:gd name="T19" fmla="*/ 201908 h 462"/>
                  <a:gd name="T20" fmla="*/ 107879 w 445"/>
                  <a:gd name="T21" fmla="*/ 193867 h 462"/>
                  <a:gd name="T22" fmla="*/ 111924 w 445"/>
                  <a:gd name="T23" fmla="*/ 185827 h 462"/>
                  <a:gd name="T24" fmla="*/ 103833 w 445"/>
                  <a:gd name="T25" fmla="*/ 174213 h 462"/>
                  <a:gd name="T26" fmla="*/ 91697 w 445"/>
                  <a:gd name="T27" fmla="*/ 150538 h 462"/>
                  <a:gd name="T28" fmla="*/ 103833 w 445"/>
                  <a:gd name="T29" fmla="*/ 138477 h 462"/>
                  <a:gd name="T30" fmla="*/ 187439 w 445"/>
                  <a:gd name="T31" fmla="*/ 158578 h 462"/>
                  <a:gd name="T32" fmla="*/ 179798 w 445"/>
                  <a:gd name="T33" fmla="*/ 71025 h 462"/>
                  <a:gd name="T34" fmla="*/ 175303 w 445"/>
                  <a:gd name="T35" fmla="*/ 138477 h 462"/>
                  <a:gd name="T36" fmla="*/ 175303 w 445"/>
                  <a:gd name="T37" fmla="*/ 138477 h 462"/>
                  <a:gd name="T38" fmla="*/ 135747 w 445"/>
                  <a:gd name="T39" fmla="*/ 91127 h 462"/>
                  <a:gd name="T40" fmla="*/ 127656 w 445"/>
                  <a:gd name="T41" fmla="*/ 27695 h 462"/>
                  <a:gd name="T42" fmla="*/ 163616 w 445"/>
                  <a:gd name="T43" fmla="*/ 79066 h 462"/>
                  <a:gd name="T44" fmla="*/ 175303 w 445"/>
                  <a:gd name="T45" fmla="*/ 138477 h 46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45" h="462">
                    <a:moveTo>
                      <a:pt x="400" y="159"/>
                    </a:moveTo>
                    <a:lnTo>
                      <a:pt x="400" y="159"/>
                    </a:lnTo>
                    <a:cubicBezTo>
                      <a:pt x="364" y="71"/>
                      <a:pt x="302" y="0"/>
                      <a:pt x="266" y="8"/>
                    </a:cubicBezTo>
                    <a:cubicBezTo>
                      <a:pt x="213" y="36"/>
                      <a:pt x="302" y="142"/>
                      <a:pt x="36" y="248"/>
                    </a:cubicBezTo>
                    <a:cubicBezTo>
                      <a:pt x="9" y="257"/>
                      <a:pt x="0" y="292"/>
                      <a:pt x="9" y="319"/>
                    </a:cubicBezTo>
                    <a:cubicBezTo>
                      <a:pt x="18" y="337"/>
                      <a:pt x="53" y="363"/>
                      <a:pt x="81" y="355"/>
                    </a:cubicBezTo>
                    <a:lnTo>
                      <a:pt x="98" y="346"/>
                    </a:lnTo>
                    <a:cubicBezTo>
                      <a:pt x="116" y="372"/>
                      <a:pt x="134" y="355"/>
                      <a:pt x="134" y="372"/>
                    </a:cubicBezTo>
                    <a:cubicBezTo>
                      <a:pt x="143" y="390"/>
                      <a:pt x="160" y="425"/>
                      <a:pt x="160" y="434"/>
                    </a:cubicBezTo>
                    <a:cubicBezTo>
                      <a:pt x="169" y="443"/>
                      <a:pt x="178" y="461"/>
                      <a:pt x="187" y="452"/>
                    </a:cubicBezTo>
                    <a:cubicBezTo>
                      <a:pt x="196" y="452"/>
                      <a:pt x="231" y="443"/>
                      <a:pt x="240" y="434"/>
                    </a:cubicBezTo>
                    <a:cubicBezTo>
                      <a:pt x="257" y="434"/>
                      <a:pt x="257" y="425"/>
                      <a:pt x="249" y="416"/>
                    </a:cubicBezTo>
                    <a:cubicBezTo>
                      <a:pt x="249" y="408"/>
                      <a:pt x="231" y="399"/>
                      <a:pt x="231" y="390"/>
                    </a:cubicBezTo>
                    <a:cubicBezTo>
                      <a:pt x="222" y="381"/>
                      <a:pt x="213" y="346"/>
                      <a:pt x="204" y="337"/>
                    </a:cubicBezTo>
                    <a:cubicBezTo>
                      <a:pt x="196" y="328"/>
                      <a:pt x="213" y="310"/>
                      <a:pt x="231" y="310"/>
                    </a:cubicBezTo>
                    <a:cubicBezTo>
                      <a:pt x="355" y="302"/>
                      <a:pt x="373" y="372"/>
                      <a:pt x="417" y="355"/>
                    </a:cubicBezTo>
                    <a:cubicBezTo>
                      <a:pt x="444" y="346"/>
                      <a:pt x="444" y="248"/>
                      <a:pt x="400" y="159"/>
                    </a:cubicBezTo>
                    <a:close/>
                    <a:moveTo>
                      <a:pt x="390" y="310"/>
                    </a:moveTo>
                    <a:lnTo>
                      <a:pt x="390" y="310"/>
                    </a:lnTo>
                    <a:cubicBezTo>
                      <a:pt x="381" y="310"/>
                      <a:pt x="328" y="275"/>
                      <a:pt x="302" y="204"/>
                    </a:cubicBezTo>
                    <a:cubicBezTo>
                      <a:pt x="275" y="133"/>
                      <a:pt x="275" y="62"/>
                      <a:pt x="284" y="62"/>
                    </a:cubicBezTo>
                    <a:cubicBezTo>
                      <a:pt x="293" y="62"/>
                      <a:pt x="337" y="106"/>
                      <a:pt x="364" y="177"/>
                    </a:cubicBezTo>
                    <a:cubicBezTo>
                      <a:pt x="400" y="248"/>
                      <a:pt x="390" y="302"/>
                      <a:pt x="390" y="31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7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34290" tIns="17145" rIns="34290" bIns="17145" anchor="ctr"/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9487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EAC7D859-70A9-4B22-AB40-0F550011CCD5}"/>
              </a:ext>
            </a:extLst>
          </p:cNvPr>
          <p:cNvGrpSpPr/>
          <p:nvPr/>
        </p:nvGrpSpPr>
        <p:grpSpPr>
          <a:xfrm>
            <a:off x="1145043" y="720474"/>
            <a:ext cx="9901913" cy="5129253"/>
            <a:chOff x="1633138" y="720474"/>
            <a:chExt cx="9901913" cy="512925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61A5808-4FAB-4100-AC15-420BC5B03A59}"/>
                </a:ext>
              </a:extLst>
            </p:cNvPr>
            <p:cNvGrpSpPr/>
            <p:nvPr/>
          </p:nvGrpSpPr>
          <p:grpSpPr>
            <a:xfrm>
              <a:off x="2955627" y="735329"/>
              <a:ext cx="8579424" cy="5114398"/>
              <a:chOff x="2583487" y="735329"/>
              <a:chExt cx="8579424" cy="5114398"/>
            </a:xfrm>
          </p:grpSpPr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BAFD9717-B5EC-4068-956E-A1CCE75CCF71}"/>
                  </a:ext>
                </a:extLst>
              </p:cNvPr>
              <p:cNvGrpSpPr/>
              <p:nvPr/>
            </p:nvGrpSpPr>
            <p:grpSpPr>
              <a:xfrm>
                <a:off x="4732757" y="735329"/>
                <a:ext cx="5785801" cy="5104346"/>
                <a:chOff x="5267630" y="1049654"/>
                <a:chExt cx="5785801" cy="5104346"/>
              </a:xfrm>
            </p:grpSpPr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24E034A9-B6FE-41C7-B076-2271A67B8D8F}"/>
                    </a:ext>
                  </a:extLst>
                </p:cNvPr>
                <p:cNvSpPr/>
                <p:nvPr/>
              </p:nvSpPr>
              <p:spPr>
                <a:xfrm>
                  <a:off x="8175306" y="2626218"/>
                  <a:ext cx="1359920" cy="1180983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4</a:t>
                  </a:r>
                </a:p>
              </p:txBody>
            </p:sp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D10151B7-BC09-45D6-809A-E496FA7D5878}"/>
                    </a:ext>
                  </a:extLst>
                </p:cNvPr>
                <p:cNvSpPr/>
                <p:nvPr/>
              </p:nvSpPr>
              <p:spPr>
                <a:xfrm>
                  <a:off x="7188498" y="3429000"/>
                  <a:ext cx="1359920" cy="1180983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3</a:t>
                  </a:r>
                </a:p>
              </p:txBody>
            </p:sp>
            <p:sp>
              <p:nvSpPr>
                <p:cNvPr id="5" name="Rectangle 4">
                  <a:extLst>
                    <a:ext uri="{FF2B5EF4-FFF2-40B4-BE49-F238E27FC236}">
                      <a16:creationId xmlns:a16="http://schemas.microsoft.com/office/drawing/2014/main" id="{F8C95D6C-8448-4394-B26F-7D5DBC6E40D0}"/>
                    </a:ext>
                  </a:extLst>
                </p:cNvPr>
                <p:cNvSpPr/>
                <p:nvPr/>
              </p:nvSpPr>
              <p:spPr>
                <a:xfrm>
                  <a:off x="6228064" y="4184635"/>
                  <a:ext cx="1359920" cy="1180983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735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2</a:t>
                  </a:r>
                </a:p>
              </p:txBody>
            </p:sp>
            <p:sp>
              <p:nvSpPr>
                <p:cNvPr id="6" name="Rectangle 5">
                  <a:extLst>
                    <a:ext uri="{FF2B5EF4-FFF2-40B4-BE49-F238E27FC236}">
                      <a16:creationId xmlns:a16="http://schemas.microsoft.com/office/drawing/2014/main" id="{18A82755-F8CA-44E3-A776-24DEDF2C36C6}"/>
                    </a:ext>
                  </a:extLst>
                </p:cNvPr>
                <p:cNvSpPr/>
                <p:nvPr/>
              </p:nvSpPr>
              <p:spPr>
                <a:xfrm>
                  <a:off x="5267630" y="4973017"/>
                  <a:ext cx="1359920" cy="1180983"/>
                </a:xfrm>
                <a:prstGeom prst="rect">
                  <a:avLst/>
                </a:prstGeom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1</a:t>
                  </a:r>
                </a:p>
              </p:txBody>
            </p: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BAF7D3A3-3689-4941-942E-DDBCE60B529E}"/>
                    </a:ext>
                  </a:extLst>
                </p:cNvPr>
                <p:cNvGrpSpPr/>
                <p:nvPr/>
              </p:nvGrpSpPr>
              <p:grpSpPr>
                <a:xfrm>
                  <a:off x="9564537" y="1049654"/>
                  <a:ext cx="1488894" cy="1581157"/>
                  <a:chOff x="7762906" y="1085477"/>
                  <a:chExt cx="1758343" cy="1867304"/>
                </a:xfrm>
              </p:grpSpPr>
              <p:sp>
                <p:nvSpPr>
                  <p:cNvPr id="9" name="Rectangle 8">
                    <a:extLst>
                      <a:ext uri="{FF2B5EF4-FFF2-40B4-BE49-F238E27FC236}">
                        <a16:creationId xmlns:a16="http://schemas.microsoft.com/office/drawing/2014/main" id="{6E7EB974-FE35-4604-B328-44AEAE3F8E28}"/>
                      </a:ext>
                    </a:extLst>
                  </p:cNvPr>
                  <p:cNvSpPr/>
                  <p:nvPr/>
                </p:nvSpPr>
                <p:spPr>
                  <a:xfrm>
                    <a:off x="9105712" y="2376837"/>
                    <a:ext cx="124043" cy="575944"/>
                  </a:xfrm>
                  <a:custGeom>
                    <a:avLst/>
                    <a:gdLst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564357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495300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106735"/>
                      <a:gd name="connsiteY0" fmla="*/ 0 h 559595"/>
                      <a:gd name="connsiteX1" fmla="*/ 106735 w 106735"/>
                      <a:gd name="connsiteY1" fmla="*/ 0 h 559595"/>
                      <a:gd name="connsiteX2" fmla="*/ 106735 w 106735"/>
                      <a:gd name="connsiteY2" fmla="*/ 495300 h 559595"/>
                      <a:gd name="connsiteX3" fmla="*/ 0 w 106735"/>
                      <a:gd name="connsiteY3" fmla="*/ 559595 h 559595"/>
                      <a:gd name="connsiteX4" fmla="*/ 0 w 106735"/>
                      <a:gd name="connsiteY4" fmla="*/ 0 h 559595"/>
                      <a:gd name="connsiteX0" fmla="*/ 0 w 106735"/>
                      <a:gd name="connsiteY0" fmla="*/ 0 h 559595"/>
                      <a:gd name="connsiteX1" fmla="*/ 106735 w 106735"/>
                      <a:gd name="connsiteY1" fmla="*/ 0 h 559595"/>
                      <a:gd name="connsiteX2" fmla="*/ 102637 w 106735"/>
                      <a:gd name="connsiteY2" fmla="*/ 488156 h 559595"/>
                      <a:gd name="connsiteX3" fmla="*/ 0 w 106735"/>
                      <a:gd name="connsiteY3" fmla="*/ 559595 h 559595"/>
                      <a:gd name="connsiteX4" fmla="*/ 0 w 106735"/>
                      <a:gd name="connsiteY4" fmla="*/ 0 h 5595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6735" h="559595">
                        <a:moveTo>
                          <a:pt x="0" y="0"/>
                        </a:moveTo>
                        <a:lnTo>
                          <a:pt x="106735" y="0"/>
                        </a:lnTo>
                        <a:lnTo>
                          <a:pt x="102637" y="488156"/>
                        </a:lnTo>
                        <a:lnTo>
                          <a:pt x="0" y="5595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0" name="Rectangle 51">
                    <a:extLst>
                      <a:ext uri="{FF2B5EF4-FFF2-40B4-BE49-F238E27FC236}">
                        <a16:creationId xmlns:a16="http://schemas.microsoft.com/office/drawing/2014/main" id="{E48239C9-B93D-4853-A6A8-EADC83955752}"/>
                      </a:ext>
                    </a:extLst>
                  </p:cNvPr>
                  <p:cNvSpPr/>
                  <p:nvPr/>
                </p:nvSpPr>
                <p:spPr>
                  <a:xfrm>
                    <a:off x="8125755" y="1825246"/>
                    <a:ext cx="987741" cy="819205"/>
                  </a:xfrm>
                  <a:custGeom>
                    <a:avLst/>
                    <a:gdLst>
                      <a:gd name="connsiteX0" fmla="*/ 0 w 1185469"/>
                      <a:gd name="connsiteY0" fmla="*/ 0 h 1475923"/>
                      <a:gd name="connsiteX1" fmla="*/ 1185469 w 1185469"/>
                      <a:gd name="connsiteY1" fmla="*/ 0 h 1475923"/>
                      <a:gd name="connsiteX2" fmla="*/ 1185469 w 1185469"/>
                      <a:gd name="connsiteY2" fmla="*/ 1475923 h 1475923"/>
                      <a:gd name="connsiteX3" fmla="*/ 0 w 1185469"/>
                      <a:gd name="connsiteY3" fmla="*/ 1475923 h 1475923"/>
                      <a:gd name="connsiteX4" fmla="*/ 0 w 1185469"/>
                      <a:gd name="connsiteY4" fmla="*/ 0 h 1475923"/>
                      <a:gd name="connsiteX0" fmla="*/ 0 w 1185469"/>
                      <a:gd name="connsiteY0" fmla="*/ 0 h 1475923"/>
                      <a:gd name="connsiteX1" fmla="*/ 1185469 w 1185469"/>
                      <a:gd name="connsiteY1" fmla="*/ 0 h 1475923"/>
                      <a:gd name="connsiteX2" fmla="*/ 1185469 w 1185469"/>
                      <a:gd name="connsiteY2" fmla="*/ 1475923 h 1475923"/>
                      <a:gd name="connsiteX3" fmla="*/ 0 w 1185469"/>
                      <a:gd name="connsiteY3" fmla="*/ 909185 h 1475923"/>
                      <a:gd name="connsiteX4" fmla="*/ 0 w 1185469"/>
                      <a:gd name="connsiteY4" fmla="*/ 0 h 1475923"/>
                      <a:gd name="connsiteX0" fmla="*/ 0 w 1185469"/>
                      <a:gd name="connsiteY0" fmla="*/ 0 h 1475923"/>
                      <a:gd name="connsiteX1" fmla="*/ 1185469 w 1185469"/>
                      <a:gd name="connsiteY1" fmla="*/ 0 h 1475923"/>
                      <a:gd name="connsiteX2" fmla="*/ 975919 w 1185469"/>
                      <a:gd name="connsiteY2" fmla="*/ 1475923 h 1475923"/>
                      <a:gd name="connsiteX3" fmla="*/ 0 w 1185469"/>
                      <a:gd name="connsiteY3" fmla="*/ 909185 h 1475923"/>
                      <a:gd name="connsiteX4" fmla="*/ 0 w 1185469"/>
                      <a:gd name="connsiteY4" fmla="*/ 0 h 1475923"/>
                      <a:gd name="connsiteX0" fmla="*/ 0 w 980681"/>
                      <a:gd name="connsiteY0" fmla="*/ 0 h 1475923"/>
                      <a:gd name="connsiteX1" fmla="*/ 980681 w 980681"/>
                      <a:gd name="connsiteY1" fmla="*/ 352425 h 1475923"/>
                      <a:gd name="connsiteX2" fmla="*/ 975919 w 980681"/>
                      <a:gd name="connsiteY2" fmla="*/ 1475923 h 1475923"/>
                      <a:gd name="connsiteX3" fmla="*/ 0 w 980681"/>
                      <a:gd name="connsiteY3" fmla="*/ 909185 h 1475923"/>
                      <a:gd name="connsiteX4" fmla="*/ 0 w 980681"/>
                      <a:gd name="connsiteY4" fmla="*/ 0 h 1475923"/>
                      <a:gd name="connsiteX0" fmla="*/ 7620 w 980681"/>
                      <a:gd name="connsiteY0" fmla="*/ 97155 h 1123498"/>
                      <a:gd name="connsiteX1" fmla="*/ 980681 w 980681"/>
                      <a:gd name="connsiteY1" fmla="*/ 0 h 1123498"/>
                      <a:gd name="connsiteX2" fmla="*/ 975919 w 980681"/>
                      <a:gd name="connsiteY2" fmla="*/ 1123498 h 1123498"/>
                      <a:gd name="connsiteX3" fmla="*/ 0 w 980681"/>
                      <a:gd name="connsiteY3" fmla="*/ 556760 h 1123498"/>
                      <a:gd name="connsiteX4" fmla="*/ 7620 w 980681"/>
                      <a:gd name="connsiteY4" fmla="*/ 97155 h 1123498"/>
                      <a:gd name="connsiteX0" fmla="*/ 7620 w 980681"/>
                      <a:gd name="connsiteY0" fmla="*/ 0 h 1026343"/>
                      <a:gd name="connsiteX1" fmla="*/ 980681 w 980681"/>
                      <a:gd name="connsiteY1" fmla="*/ 563245 h 1026343"/>
                      <a:gd name="connsiteX2" fmla="*/ 975919 w 980681"/>
                      <a:gd name="connsiteY2" fmla="*/ 1026343 h 1026343"/>
                      <a:gd name="connsiteX3" fmla="*/ 0 w 980681"/>
                      <a:gd name="connsiteY3" fmla="*/ 459605 h 1026343"/>
                      <a:gd name="connsiteX4" fmla="*/ 7620 w 980681"/>
                      <a:gd name="connsiteY4" fmla="*/ 0 h 1026343"/>
                      <a:gd name="connsiteX0" fmla="*/ 4445 w 980681"/>
                      <a:gd name="connsiteY0" fmla="*/ 0 h 985068"/>
                      <a:gd name="connsiteX1" fmla="*/ 980681 w 980681"/>
                      <a:gd name="connsiteY1" fmla="*/ 521970 h 985068"/>
                      <a:gd name="connsiteX2" fmla="*/ 975919 w 980681"/>
                      <a:gd name="connsiteY2" fmla="*/ 985068 h 985068"/>
                      <a:gd name="connsiteX3" fmla="*/ 0 w 980681"/>
                      <a:gd name="connsiteY3" fmla="*/ 418330 h 985068"/>
                      <a:gd name="connsiteX4" fmla="*/ 4445 w 980681"/>
                      <a:gd name="connsiteY4" fmla="*/ 0 h 985068"/>
                      <a:gd name="connsiteX0" fmla="*/ 4445 w 983856"/>
                      <a:gd name="connsiteY0" fmla="*/ 0 h 985068"/>
                      <a:gd name="connsiteX1" fmla="*/ 983856 w 983856"/>
                      <a:gd name="connsiteY1" fmla="*/ 515620 h 985068"/>
                      <a:gd name="connsiteX2" fmla="*/ 975919 w 983856"/>
                      <a:gd name="connsiteY2" fmla="*/ 985068 h 985068"/>
                      <a:gd name="connsiteX3" fmla="*/ 0 w 983856"/>
                      <a:gd name="connsiteY3" fmla="*/ 418330 h 985068"/>
                      <a:gd name="connsiteX4" fmla="*/ 4445 w 983856"/>
                      <a:gd name="connsiteY4" fmla="*/ 0 h 985068"/>
                      <a:gd name="connsiteX0" fmla="*/ 4445 w 993381"/>
                      <a:gd name="connsiteY0" fmla="*/ 0 h 985068"/>
                      <a:gd name="connsiteX1" fmla="*/ 993381 w 993381"/>
                      <a:gd name="connsiteY1" fmla="*/ 512445 h 985068"/>
                      <a:gd name="connsiteX2" fmla="*/ 975919 w 993381"/>
                      <a:gd name="connsiteY2" fmla="*/ 985068 h 985068"/>
                      <a:gd name="connsiteX3" fmla="*/ 0 w 993381"/>
                      <a:gd name="connsiteY3" fmla="*/ 418330 h 985068"/>
                      <a:gd name="connsiteX4" fmla="*/ 4445 w 993381"/>
                      <a:gd name="connsiteY4" fmla="*/ 0 h 985068"/>
                      <a:gd name="connsiteX0" fmla="*/ 4445 w 980681"/>
                      <a:gd name="connsiteY0" fmla="*/ 0 h 985068"/>
                      <a:gd name="connsiteX1" fmla="*/ 980681 w 980681"/>
                      <a:gd name="connsiteY1" fmla="*/ 506095 h 985068"/>
                      <a:gd name="connsiteX2" fmla="*/ 975919 w 980681"/>
                      <a:gd name="connsiteY2" fmla="*/ 985068 h 985068"/>
                      <a:gd name="connsiteX3" fmla="*/ 0 w 980681"/>
                      <a:gd name="connsiteY3" fmla="*/ 418330 h 985068"/>
                      <a:gd name="connsiteX4" fmla="*/ 4445 w 980681"/>
                      <a:gd name="connsiteY4" fmla="*/ 0 h 985068"/>
                      <a:gd name="connsiteX0" fmla="*/ 4445 w 980681"/>
                      <a:gd name="connsiteY0" fmla="*/ 0 h 985068"/>
                      <a:gd name="connsiteX1" fmla="*/ 980681 w 980681"/>
                      <a:gd name="connsiteY1" fmla="*/ 506095 h 985068"/>
                      <a:gd name="connsiteX2" fmla="*/ 975919 w 980681"/>
                      <a:gd name="connsiteY2" fmla="*/ 985068 h 985068"/>
                      <a:gd name="connsiteX3" fmla="*/ 0 w 980681"/>
                      <a:gd name="connsiteY3" fmla="*/ 418330 h 985068"/>
                      <a:gd name="connsiteX4" fmla="*/ 4445 w 980681"/>
                      <a:gd name="connsiteY4" fmla="*/ 0 h 985068"/>
                      <a:gd name="connsiteX0" fmla="*/ 4445 w 977506"/>
                      <a:gd name="connsiteY0" fmla="*/ 0 h 985068"/>
                      <a:gd name="connsiteX1" fmla="*/ 977506 w 977506"/>
                      <a:gd name="connsiteY1" fmla="*/ 521970 h 985068"/>
                      <a:gd name="connsiteX2" fmla="*/ 975919 w 977506"/>
                      <a:gd name="connsiteY2" fmla="*/ 985068 h 985068"/>
                      <a:gd name="connsiteX3" fmla="*/ 0 w 977506"/>
                      <a:gd name="connsiteY3" fmla="*/ 418330 h 985068"/>
                      <a:gd name="connsiteX4" fmla="*/ 4445 w 977506"/>
                      <a:gd name="connsiteY4" fmla="*/ 0 h 985068"/>
                      <a:gd name="connsiteX0" fmla="*/ 4445 w 977506"/>
                      <a:gd name="connsiteY0" fmla="*/ 0 h 985068"/>
                      <a:gd name="connsiteX1" fmla="*/ 977506 w 977506"/>
                      <a:gd name="connsiteY1" fmla="*/ 537845 h 985068"/>
                      <a:gd name="connsiteX2" fmla="*/ 975919 w 977506"/>
                      <a:gd name="connsiteY2" fmla="*/ 985068 h 985068"/>
                      <a:gd name="connsiteX3" fmla="*/ 0 w 977506"/>
                      <a:gd name="connsiteY3" fmla="*/ 418330 h 985068"/>
                      <a:gd name="connsiteX4" fmla="*/ 4445 w 977506"/>
                      <a:gd name="connsiteY4" fmla="*/ 0 h 985068"/>
                      <a:gd name="connsiteX0" fmla="*/ 4445 w 1004554"/>
                      <a:gd name="connsiteY0" fmla="*/ 0 h 1085771"/>
                      <a:gd name="connsiteX1" fmla="*/ 977506 w 1004554"/>
                      <a:gd name="connsiteY1" fmla="*/ 537845 h 1085771"/>
                      <a:gd name="connsiteX2" fmla="*/ 1004494 w 1004554"/>
                      <a:gd name="connsiteY2" fmla="*/ 1085771 h 1085771"/>
                      <a:gd name="connsiteX3" fmla="*/ 0 w 1004554"/>
                      <a:gd name="connsiteY3" fmla="*/ 418330 h 1085771"/>
                      <a:gd name="connsiteX4" fmla="*/ 4445 w 1004554"/>
                      <a:gd name="connsiteY4" fmla="*/ 0 h 1085771"/>
                      <a:gd name="connsiteX0" fmla="*/ 4445 w 1013224"/>
                      <a:gd name="connsiteY0" fmla="*/ 0 h 1085771"/>
                      <a:gd name="connsiteX1" fmla="*/ 1013224 w 1013224"/>
                      <a:gd name="connsiteY1" fmla="*/ 745544 h 1085771"/>
                      <a:gd name="connsiteX2" fmla="*/ 1004494 w 1013224"/>
                      <a:gd name="connsiteY2" fmla="*/ 1085771 h 1085771"/>
                      <a:gd name="connsiteX3" fmla="*/ 0 w 1013224"/>
                      <a:gd name="connsiteY3" fmla="*/ 418330 h 1085771"/>
                      <a:gd name="connsiteX4" fmla="*/ 4445 w 1013224"/>
                      <a:gd name="connsiteY4" fmla="*/ 0 h 1085771"/>
                      <a:gd name="connsiteX0" fmla="*/ 395 w 1009174"/>
                      <a:gd name="connsiteY0" fmla="*/ 0 h 1085771"/>
                      <a:gd name="connsiteX1" fmla="*/ 1009174 w 1009174"/>
                      <a:gd name="connsiteY1" fmla="*/ 745544 h 1085771"/>
                      <a:gd name="connsiteX2" fmla="*/ 1000444 w 1009174"/>
                      <a:gd name="connsiteY2" fmla="*/ 1085771 h 1085771"/>
                      <a:gd name="connsiteX3" fmla="*/ 712 w 1009174"/>
                      <a:gd name="connsiteY3" fmla="*/ 355390 h 1085771"/>
                      <a:gd name="connsiteX4" fmla="*/ 395 w 1009174"/>
                      <a:gd name="connsiteY4" fmla="*/ 0 h 1085771"/>
                      <a:gd name="connsiteX0" fmla="*/ 71 w 1008850"/>
                      <a:gd name="connsiteY0" fmla="*/ 0 h 1085771"/>
                      <a:gd name="connsiteX1" fmla="*/ 1008850 w 1008850"/>
                      <a:gd name="connsiteY1" fmla="*/ 745544 h 1085771"/>
                      <a:gd name="connsiteX2" fmla="*/ 1000120 w 1008850"/>
                      <a:gd name="connsiteY2" fmla="*/ 1085771 h 1085771"/>
                      <a:gd name="connsiteX3" fmla="*/ 19438 w 1008850"/>
                      <a:gd name="connsiteY3" fmla="*/ 276716 h 1085771"/>
                      <a:gd name="connsiteX4" fmla="*/ 71 w 1008850"/>
                      <a:gd name="connsiteY4" fmla="*/ 0 h 1085771"/>
                      <a:gd name="connsiteX0" fmla="*/ 71 w 1008850"/>
                      <a:gd name="connsiteY0" fmla="*/ 0 h 1085771"/>
                      <a:gd name="connsiteX1" fmla="*/ 1008850 w 1008850"/>
                      <a:gd name="connsiteY1" fmla="*/ 745544 h 1085771"/>
                      <a:gd name="connsiteX2" fmla="*/ 1000120 w 1008850"/>
                      <a:gd name="connsiteY2" fmla="*/ 1085771 h 1085771"/>
                      <a:gd name="connsiteX3" fmla="*/ 19438 w 1008850"/>
                      <a:gd name="connsiteY3" fmla="*/ 276716 h 1085771"/>
                      <a:gd name="connsiteX4" fmla="*/ 71 w 1008850"/>
                      <a:gd name="connsiteY4" fmla="*/ 0 h 1085771"/>
                      <a:gd name="connsiteX0" fmla="*/ 88 w 1008867"/>
                      <a:gd name="connsiteY0" fmla="*/ 0 h 1085771"/>
                      <a:gd name="connsiteX1" fmla="*/ 1008867 w 1008867"/>
                      <a:gd name="connsiteY1" fmla="*/ 745544 h 1085771"/>
                      <a:gd name="connsiteX2" fmla="*/ 1000137 w 1008867"/>
                      <a:gd name="connsiteY2" fmla="*/ 1085771 h 1085771"/>
                      <a:gd name="connsiteX3" fmla="*/ 14692 w 1008867"/>
                      <a:gd name="connsiteY3" fmla="*/ 333362 h 1085771"/>
                      <a:gd name="connsiteX4" fmla="*/ 88 w 1008867"/>
                      <a:gd name="connsiteY4" fmla="*/ 0 h 1085771"/>
                      <a:gd name="connsiteX0" fmla="*/ 88 w 1008867"/>
                      <a:gd name="connsiteY0" fmla="*/ 0 h 1085771"/>
                      <a:gd name="connsiteX1" fmla="*/ 1008867 w 1008867"/>
                      <a:gd name="connsiteY1" fmla="*/ 745544 h 1085771"/>
                      <a:gd name="connsiteX2" fmla="*/ 1000137 w 1008867"/>
                      <a:gd name="connsiteY2" fmla="*/ 1085771 h 1085771"/>
                      <a:gd name="connsiteX3" fmla="*/ 14692 w 1008867"/>
                      <a:gd name="connsiteY3" fmla="*/ 333362 h 1085771"/>
                      <a:gd name="connsiteX4" fmla="*/ 88 w 1008867"/>
                      <a:gd name="connsiteY4" fmla="*/ 0 h 1085771"/>
                      <a:gd name="connsiteX0" fmla="*/ 88 w 1008867"/>
                      <a:gd name="connsiteY0" fmla="*/ 0 h 1085780"/>
                      <a:gd name="connsiteX1" fmla="*/ 1008867 w 1008867"/>
                      <a:gd name="connsiteY1" fmla="*/ 745544 h 1085780"/>
                      <a:gd name="connsiteX2" fmla="*/ 1000137 w 1008867"/>
                      <a:gd name="connsiteY2" fmla="*/ 1085771 h 1085780"/>
                      <a:gd name="connsiteX3" fmla="*/ 14692 w 1008867"/>
                      <a:gd name="connsiteY3" fmla="*/ 333362 h 1085780"/>
                      <a:gd name="connsiteX4" fmla="*/ 88 w 1008867"/>
                      <a:gd name="connsiteY4" fmla="*/ 0 h 1085780"/>
                      <a:gd name="connsiteX0" fmla="*/ 2065 w 994175"/>
                      <a:gd name="connsiteY0" fmla="*/ 0 h 1082633"/>
                      <a:gd name="connsiteX1" fmla="*/ 994175 w 994175"/>
                      <a:gd name="connsiteY1" fmla="*/ 742397 h 1082633"/>
                      <a:gd name="connsiteX2" fmla="*/ 985445 w 994175"/>
                      <a:gd name="connsiteY2" fmla="*/ 1082624 h 1082633"/>
                      <a:gd name="connsiteX3" fmla="*/ 0 w 994175"/>
                      <a:gd name="connsiteY3" fmla="*/ 330215 h 1082633"/>
                      <a:gd name="connsiteX4" fmla="*/ 2065 w 994175"/>
                      <a:gd name="connsiteY4" fmla="*/ 0 h 1082633"/>
                      <a:gd name="connsiteX0" fmla="*/ 394 w 994885"/>
                      <a:gd name="connsiteY0" fmla="*/ 0 h 1082633"/>
                      <a:gd name="connsiteX1" fmla="*/ 994885 w 994885"/>
                      <a:gd name="connsiteY1" fmla="*/ 742397 h 1082633"/>
                      <a:gd name="connsiteX2" fmla="*/ 986155 w 994885"/>
                      <a:gd name="connsiteY2" fmla="*/ 1082624 h 1082633"/>
                      <a:gd name="connsiteX3" fmla="*/ 710 w 994885"/>
                      <a:gd name="connsiteY3" fmla="*/ 330215 h 1082633"/>
                      <a:gd name="connsiteX4" fmla="*/ 394 w 994885"/>
                      <a:gd name="connsiteY4" fmla="*/ 0 h 1082633"/>
                      <a:gd name="connsiteX0" fmla="*/ 394 w 994885"/>
                      <a:gd name="connsiteY0" fmla="*/ 0 h 1082633"/>
                      <a:gd name="connsiteX1" fmla="*/ 994885 w 994885"/>
                      <a:gd name="connsiteY1" fmla="*/ 742397 h 1082633"/>
                      <a:gd name="connsiteX2" fmla="*/ 986155 w 994885"/>
                      <a:gd name="connsiteY2" fmla="*/ 1082624 h 1082633"/>
                      <a:gd name="connsiteX3" fmla="*/ 710 w 994885"/>
                      <a:gd name="connsiteY3" fmla="*/ 330215 h 1082633"/>
                      <a:gd name="connsiteX4" fmla="*/ 394 w 994885"/>
                      <a:gd name="connsiteY4" fmla="*/ 0 h 1082633"/>
                      <a:gd name="connsiteX0" fmla="*/ 394 w 987741"/>
                      <a:gd name="connsiteY0" fmla="*/ 0 h 1082633"/>
                      <a:gd name="connsiteX1" fmla="*/ 987741 w 987741"/>
                      <a:gd name="connsiteY1" fmla="*/ 729809 h 1082633"/>
                      <a:gd name="connsiteX2" fmla="*/ 986155 w 987741"/>
                      <a:gd name="connsiteY2" fmla="*/ 1082624 h 1082633"/>
                      <a:gd name="connsiteX3" fmla="*/ 710 w 987741"/>
                      <a:gd name="connsiteY3" fmla="*/ 330215 h 1082633"/>
                      <a:gd name="connsiteX4" fmla="*/ 394 w 987741"/>
                      <a:gd name="connsiteY4" fmla="*/ 0 h 1082633"/>
                      <a:gd name="connsiteX0" fmla="*/ 394 w 987741"/>
                      <a:gd name="connsiteY0" fmla="*/ 0 h 1082633"/>
                      <a:gd name="connsiteX1" fmla="*/ 987741 w 987741"/>
                      <a:gd name="connsiteY1" fmla="*/ 729809 h 1082633"/>
                      <a:gd name="connsiteX2" fmla="*/ 986155 w 987741"/>
                      <a:gd name="connsiteY2" fmla="*/ 1082624 h 1082633"/>
                      <a:gd name="connsiteX3" fmla="*/ 710 w 987741"/>
                      <a:gd name="connsiteY3" fmla="*/ 336509 h 1082633"/>
                      <a:gd name="connsiteX4" fmla="*/ 394 w 987741"/>
                      <a:gd name="connsiteY4" fmla="*/ 0 h 10826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87741" h="1082633">
                        <a:moveTo>
                          <a:pt x="394" y="0"/>
                        </a:moveTo>
                        <a:lnTo>
                          <a:pt x="987741" y="729809"/>
                        </a:lnTo>
                        <a:cubicBezTo>
                          <a:pt x="986154" y="732833"/>
                          <a:pt x="985360" y="1079468"/>
                          <a:pt x="986155" y="1082624"/>
                        </a:cubicBezTo>
                        <a:cubicBezTo>
                          <a:pt x="987080" y="1085678"/>
                          <a:pt x="2166" y="333455"/>
                          <a:pt x="710" y="336509"/>
                        </a:cubicBezTo>
                        <a:cubicBezTo>
                          <a:pt x="2192" y="197066"/>
                          <a:pt x="-1088" y="139443"/>
                          <a:pt x="394" y="0"/>
                        </a:cubicBez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1" name="Isosceles Triangle 7">
                    <a:extLst>
                      <a:ext uri="{FF2B5EF4-FFF2-40B4-BE49-F238E27FC236}">
                        <a16:creationId xmlns:a16="http://schemas.microsoft.com/office/drawing/2014/main" id="{14226786-23AD-4F87-BD1F-3ABC196F3EAA}"/>
                      </a:ext>
                    </a:extLst>
                  </p:cNvPr>
                  <p:cNvSpPr/>
                  <p:nvPr/>
                </p:nvSpPr>
                <p:spPr>
                  <a:xfrm>
                    <a:off x="7762906" y="1133102"/>
                    <a:ext cx="1669256" cy="1436297"/>
                  </a:xfrm>
                  <a:custGeom>
                    <a:avLst/>
                    <a:gdLst>
                      <a:gd name="connsiteX0" fmla="*/ 0 w 1724025"/>
                      <a:gd name="connsiteY0" fmla="*/ 971952 h 971952"/>
                      <a:gd name="connsiteX1" fmla="*/ 862013 w 1724025"/>
                      <a:gd name="connsiteY1" fmla="*/ 0 h 971952"/>
                      <a:gd name="connsiteX2" fmla="*/ 1724025 w 1724025"/>
                      <a:gd name="connsiteY2" fmla="*/ 971952 h 971952"/>
                      <a:gd name="connsiteX3" fmla="*/ 0 w 1724025"/>
                      <a:gd name="connsiteY3" fmla="*/ 971952 h 971952"/>
                      <a:gd name="connsiteX0" fmla="*/ 0 w 1769269"/>
                      <a:gd name="connsiteY0" fmla="*/ 36121 h 971952"/>
                      <a:gd name="connsiteX1" fmla="*/ 907257 w 1769269"/>
                      <a:gd name="connsiteY1" fmla="*/ 0 h 971952"/>
                      <a:gd name="connsiteX2" fmla="*/ 1769269 w 1769269"/>
                      <a:gd name="connsiteY2" fmla="*/ 971952 h 971952"/>
                      <a:gd name="connsiteX3" fmla="*/ 0 w 1769269"/>
                      <a:gd name="connsiteY3" fmla="*/ 36121 h 971952"/>
                      <a:gd name="connsiteX0" fmla="*/ 0 w 1669256"/>
                      <a:gd name="connsiteY0" fmla="*/ 36121 h 974334"/>
                      <a:gd name="connsiteX1" fmla="*/ 907257 w 1669256"/>
                      <a:gd name="connsiteY1" fmla="*/ 0 h 974334"/>
                      <a:gd name="connsiteX2" fmla="*/ 1669256 w 1669256"/>
                      <a:gd name="connsiteY2" fmla="*/ 974334 h 974334"/>
                      <a:gd name="connsiteX3" fmla="*/ 0 w 1669256"/>
                      <a:gd name="connsiteY3" fmla="*/ 36121 h 974334"/>
                      <a:gd name="connsiteX0" fmla="*/ 0 w 1669256"/>
                      <a:gd name="connsiteY0" fmla="*/ 498084 h 1436297"/>
                      <a:gd name="connsiteX1" fmla="*/ 845344 w 1669256"/>
                      <a:gd name="connsiteY1" fmla="*/ 0 h 1436297"/>
                      <a:gd name="connsiteX2" fmla="*/ 1669256 w 1669256"/>
                      <a:gd name="connsiteY2" fmla="*/ 1436297 h 1436297"/>
                      <a:gd name="connsiteX3" fmla="*/ 0 w 1669256"/>
                      <a:gd name="connsiteY3" fmla="*/ 498084 h 14362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69256" h="1436297">
                        <a:moveTo>
                          <a:pt x="0" y="498084"/>
                        </a:moveTo>
                        <a:lnTo>
                          <a:pt x="845344" y="0"/>
                        </a:lnTo>
                        <a:lnTo>
                          <a:pt x="1669256" y="1436297"/>
                        </a:lnTo>
                        <a:lnTo>
                          <a:pt x="0" y="498084"/>
                        </a:ln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  <p:sp>
                <p:nvSpPr>
                  <p:cNvPr id="12" name="Rectangle 8">
                    <a:extLst>
                      <a:ext uri="{FF2B5EF4-FFF2-40B4-BE49-F238E27FC236}">
                        <a16:creationId xmlns:a16="http://schemas.microsoft.com/office/drawing/2014/main" id="{8164B192-2E2C-4A73-9901-E59EA6488344}"/>
                      </a:ext>
                    </a:extLst>
                  </p:cNvPr>
                  <p:cNvSpPr/>
                  <p:nvPr/>
                </p:nvSpPr>
                <p:spPr>
                  <a:xfrm>
                    <a:off x="8601866" y="1085477"/>
                    <a:ext cx="919383" cy="1481138"/>
                  </a:xfrm>
                  <a:custGeom>
                    <a:avLst/>
                    <a:gdLst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564357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106735"/>
                      <a:gd name="connsiteY0" fmla="*/ 0 h 564357"/>
                      <a:gd name="connsiteX1" fmla="*/ 106735 w 106735"/>
                      <a:gd name="connsiteY1" fmla="*/ 0 h 564357"/>
                      <a:gd name="connsiteX2" fmla="*/ 106735 w 106735"/>
                      <a:gd name="connsiteY2" fmla="*/ 495300 h 564357"/>
                      <a:gd name="connsiteX3" fmla="*/ 0 w 106735"/>
                      <a:gd name="connsiteY3" fmla="*/ 564357 h 564357"/>
                      <a:gd name="connsiteX4" fmla="*/ 0 w 106735"/>
                      <a:gd name="connsiteY4" fmla="*/ 0 h 564357"/>
                      <a:gd name="connsiteX0" fmla="*/ 0 w 823876"/>
                      <a:gd name="connsiteY0" fmla="*/ 0 h 1414463"/>
                      <a:gd name="connsiteX1" fmla="*/ 106735 w 823876"/>
                      <a:gd name="connsiteY1" fmla="*/ 0 h 1414463"/>
                      <a:gd name="connsiteX2" fmla="*/ 823876 w 823876"/>
                      <a:gd name="connsiteY2" fmla="*/ 1414463 h 1414463"/>
                      <a:gd name="connsiteX3" fmla="*/ 0 w 823876"/>
                      <a:gd name="connsiteY3" fmla="*/ 564357 h 1414463"/>
                      <a:gd name="connsiteX4" fmla="*/ 0 w 823876"/>
                      <a:gd name="connsiteY4" fmla="*/ 0 h 1414463"/>
                      <a:gd name="connsiteX0" fmla="*/ 0 w 823876"/>
                      <a:gd name="connsiteY0" fmla="*/ 0 h 1464469"/>
                      <a:gd name="connsiteX1" fmla="*/ 106735 w 823876"/>
                      <a:gd name="connsiteY1" fmla="*/ 0 h 1464469"/>
                      <a:gd name="connsiteX2" fmla="*/ 823876 w 823876"/>
                      <a:gd name="connsiteY2" fmla="*/ 1414463 h 1464469"/>
                      <a:gd name="connsiteX3" fmla="*/ 741729 w 823876"/>
                      <a:gd name="connsiteY3" fmla="*/ 1464469 h 1464469"/>
                      <a:gd name="connsiteX4" fmla="*/ 0 w 823876"/>
                      <a:gd name="connsiteY4" fmla="*/ 0 h 1464469"/>
                      <a:gd name="connsiteX0" fmla="*/ 0 w 823876"/>
                      <a:gd name="connsiteY0" fmla="*/ 38100 h 1502569"/>
                      <a:gd name="connsiteX1" fmla="*/ 98539 w 823876"/>
                      <a:gd name="connsiteY1" fmla="*/ 0 h 1502569"/>
                      <a:gd name="connsiteX2" fmla="*/ 823876 w 823876"/>
                      <a:gd name="connsiteY2" fmla="*/ 1452563 h 1502569"/>
                      <a:gd name="connsiteX3" fmla="*/ 741729 w 823876"/>
                      <a:gd name="connsiteY3" fmla="*/ 1502569 h 1502569"/>
                      <a:gd name="connsiteX4" fmla="*/ 0 w 823876"/>
                      <a:gd name="connsiteY4" fmla="*/ 38100 h 1502569"/>
                      <a:gd name="connsiteX0" fmla="*/ 0 w 823876"/>
                      <a:gd name="connsiteY0" fmla="*/ 38100 h 1462087"/>
                      <a:gd name="connsiteX1" fmla="*/ 98539 w 823876"/>
                      <a:gd name="connsiteY1" fmla="*/ 0 h 1462087"/>
                      <a:gd name="connsiteX2" fmla="*/ 823876 w 823876"/>
                      <a:gd name="connsiteY2" fmla="*/ 1452563 h 1462087"/>
                      <a:gd name="connsiteX3" fmla="*/ 715091 w 823876"/>
                      <a:gd name="connsiteY3" fmla="*/ 1462087 h 1462087"/>
                      <a:gd name="connsiteX4" fmla="*/ 0 w 823876"/>
                      <a:gd name="connsiteY4" fmla="*/ 38100 h 1462087"/>
                      <a:gd name="connsiteX0" fmla="*/ 0 w 799288"/>
                      <a:gd name="connsiteY0" fmla="*/ 38100 h 1462087"/>
                      <a:gd name="connsiteX1" fmla="*/ 98539 w 799288"/>
                      <a:gd name="connsiteY1" fmla="*/ 0 h 1462087"/>
                      <a:gd name="connsiteX2" fmla="*/ 799288 w 799288"/>
                      <a:gd name="connsiteY2" fmla="*/ 1416844 h 1462087"/>
                      <a:gd name="connsiteX3" fmla="*/ 715091 w 799288"/>
                      <a:gd name="connsiteY3" fmla="*/ 1462087 h 1462087"/>
                      <a:gd name="connsiteX4" fmla="*/ 0 w 799288"/>
                      <a:gd name="connsiteY4" fmla="*/ 38100 h 1462087"/>
                      <a:gd name="connsiteX0" fmla="*/ 0 w 799288"/>
                      <a:gd name="connsiteY0" fmla="*/ 38100 h 1471612"/>
                      <a:gd name="connsiteX1" fmla="*/ 98539 w 799288"/>
                      <a:gd name="connsiteY1" fmla="*/ 0 h 1471612"/>
                      <a:gd name="connsiteX2" fmla="*/ 799288 w 799288"/>
                      <a:gd name="connsiteY2" fmla="*/ 1416844 h 1471612"/>
                      <a:gd name="connsiteX3" fmla="*/ 717140 w 799288"/>
                      <a:gd name="connsiteY3" fmla="*/ 1471612 h 1471612"/>
                      <a:gd name="connsiteX4" fmla="*/ 0 w 799288"/>
                      <a:gd name="connsiteY4" fmla="*/ 38100 h 1471612"/>
                      <a:gd name="connsiteX0" fmla="*/ 0 w 803386"/>
                      <a:gd name="connsiteY0" fmla="*/ 38100 h 1471612"/>
                      <a:gd name="connsiteX1" fmla="*/ 98539 w 803386"/>
                      <a:gd name="connsiteY1" fmla="*/ 0 h 1471612"/>
                      <a:gd name="connsiteX2" fmla="*/ 803386 w 803386"/>
                      <a:gd name="connsiteY2" fmla="*/ 1426369 h 1471612"/>
                      <a:gd name="connsiteX3" fmla="*/ 717140 w 803386"/>
                      <a:gd name="connsiteY3" fmla="*/ 1471612 h 1471612"/>
                      <a:gd name="connsiteX4" fmla="*/ 0 w 803386"/>
                      <a:gd name="connsiteY4" fmla="*/ 38100 h 1471612"/>
                      <a:gd name="connsiteX0" fmla="*/ 0 w 797239"/>
                      <a:gd name="connsiteY0" fmla="*/ 38100 h 1471612"/>
                      <a:gd name="connsiteX1" fmla="*/ 98539 w 797239"/>
                      <a:gd name="connsiteY1" fmla="*/ 0 h 1471612"/>
                      <a:gd name="connsiteX2" fmla="*/ 797239 w 797239"/>
                      <a:gd name="connsiteY2" fmla="*/ 1414462 h 1471612"/>
                      <a:gd name="connsiteX3" fmla="*/ 717140 w 797239"/>
                      <a:gd name="connsiteY3" fmla="*/ 1471612 h 1471612"/>
                      <a:gd name="connsiteX4" fmla="*/ 0 w 797239"/>
                      <a:gd name="connsiteY4" fmla="*/ 38100 h 1471612"/>
                      <a:gd name="connsiteX0" fmla="*/ 0 w 791092"/>
                      <a:gd name="connsiteY0" fmla="*/ 42863 h 1471612"/>
                      <a:gd name="connsiteX1" fmla="*/ 92392 w 791092"/>
                      <a:gd name="connsiteY1" fmla="*/ 0 h 1471612"/>
                      <a:gd name="connsiteX2" fmla="*/ 791092 w 791092"/>
                      <a:gd name="connsiteY2" fmla="*/ 1414462 h 1471612"/>
                      <a:gd name="connsiteX3" fmla="*/ 710993 w 791092"/>
                      <a:gd name="connsiteY3" fmla="*/ 1471612 h 1471612"/>
                      <a:gd name="connsiteX4" fmla="*/ 0 w 791092"/>
                      <a:gd name="connsiteY4" fmla="*/ 42863 h 1471612"/>
                      <a:gd name="connsiteX0" fmla="*/ 0 w 791092"/>
                      <a:gd name="connsiteY0" fmla="*/ 42863 h 1471612"/>
                      <a:gd name="connsiteX1" fmla="*/ 92392 w 791092"/>
                      <a:gd name="connsiteY1" fmla="*/ 0 h 1471612"/>
                      <a:gd name="connsiteX2" fmla="*/ 791092 w 791092"/>
                      <a:gd name="connsiteY2" fmla="*/ 1414462 h 1471612"/>
                      <a:gd name="connsiteX3" fmla="*/ 710993 w 791092"/>
                      <a:gd name="connsiteY3" fmla="*/ 1471612 h 1471612"/>
                      <a:gd name="connsiteX4" fmla="*/ 0 w 791092"/>
                      <a:gd name="connsiteY4" fmla="*/ 42863 h 1471612"/>
                      <a:gd name="connsiteX0" fmla="*/ 0 w 791092"/>
                      <a:gd name="connsiteY0" fmla="*/ 38100 h 1471612"/>
                      <a:gd name="connsiteX1" fmla="*/ 92392 w 791092"/>
                      <a:gd name="connsiteY1" fmla="*/ 0 h 1471612"/>
                      <a:gd name="connsiteX2" fmla="*/ 791092 w 791092"/>
                      <a:gd name="connsiteY2" fmla="*/ 1414462 h 1471612"/>
                      <a:gd name="connsiteX3" fmla="*/ 710993 w 791092"/>
                      <a:gd name="connsiteY3" fmla="*/ 1471612 h 1471612"/>
                      <a:gd name="connsiteX4" fmla="*/ 0 w 791092"/>
                      <a:gd name="connsiteY4" fmla="*/ 38100 h 1471612"/>
                      <a:gd name="connsiteX0" fmla="*/ 0 w 791092"/>
                      <a:gd name="connsiteY0" fmla="*/ 47625 h 1481137"/>
                      <a:gd name="connsiteX1" fmla="*/ 84196 w 791092"/>
                      <a:gd name="connsiteY1" fmla="*/ 0 h 1481137"/>
                      <a:gd name="connsiteX2" fmla="*/ 791092 w 791092"/>
                      <a:gd name="connsiteY2" fmla="*/ 1423987 h 1481137"/>
                      <a:gd name="connsiteX3" fmla="*/ 710993 w 791092"/>
                      <a:gd name="connsiteY3" fmla="*/ 1481137 h 1481137"/>
                      <a:gd name="connsiteX4" fmla="*/ 0 w 791092"/>
                      <a:gd name="connsiteY4" fmla="*/ 47625 h 14811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91092" h="1481137">
                        <a:moveTo>
                          <a:pt x="0" y="47625"/>
                        </a:moveTo>
                        <a:lnTo>
                          <a:pt x="84196" y="0"/>
                        </a:lnTo>
                        <a:lnTo>
                          <a:pt x="791092" y="1423987"/>
                        </a:lnTo>
                        <a:lnTo>
                          <a:pt x="710993" y="1481137"/>
                        </a:lnTo>
                        <a:lnTo>
                          <a:pt x="0" y="47625"/>
                        </a:lnTo>
                        <a:close/>
                      </a:path>
                    </a:pathLst>
                  </a:custGeom>
                  <a:solidFill>
                    <a:schemeClr val="accent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d-ID" sz="5400">
                      <a:latin typeface="Segoe UI Semibold" panose="020B0702040204020203" pitchFamily="34" charset="0"/>
                      <a:cs typeface="Segoe UI Semibold" panose="020B0702040204020203" pitchFamily="34" charset="0"/>
                    </a:endParaRPr>
                  </a:p>
                </p:txBody>
              </p:sp>
            </p:grpSp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BA9FCF83-C5A6-494F-85F3-792CBB2DB097}"/>
                    </a:ext>
                  </a:extLst>
                </p:cNvPr>
                <p:cNvSpPr/>
                <p:nvPr/>
              </p:nvSpPr>
              <p:spPr>
                <a:xfrm>
                  <a:off x="9129606" y="1758074"/>
                  <a:ext cx="1359920" cy="1180983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  <a:effectLst>
                  <a:reflection blurRad="114300" stA="21000" endPos="65000" dir="5400000" sy="-100000" algn="bl" rotWithShape="0"/>
                </a:effectLst>
                <a:scene3d>
                  <a:camera prst="isometricTopUp"/>
                  <a:lightRig rig="threePt" dir="t">
                    <a:rot lat="0" lon="0" rev="0"/>
                  </a:lightRig>
                </a:scene3d>
                <a:sp3d extrusionH="3810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IN" sz="5400" b="1" dirty="0">
                      <a:latin typeface="Segoe UI" panose="020B0502040204020203" pitchFamily="34" charset="0"/>
                      <a:cs typeface="Segoe UI" panose="020B0502040204020203" pitchFamily="34" charset="0"/>
                    </a:rPr>
                    <a:t>05</a:t>
                  </a: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97E113BA-E4E0-43B8-A01D-D3389090AC2B}"/>
                  </a:ext>
                </a:extLst>
              </p:cNvPr>
              <p:cNvGrpSpPr/>
              <p:nvPr/>
            </p:nvGrpSpPr>
            <p:grpSpPr>
              <a:xfrm>
                <a:off x="4504355" y="2598489"/>
                <a:ext cx="2324923" cy="804151"/>
                <a:chOff x="9495326" y="1978079"/>
                <a:chExt cx="2324923" cy="804151"/>
              </a:xfrm>
            </p:grpSpPr>
            <p:sp>
              <p:nvSpPr>
                <p:cNvPr id="20" name="Speech Bubble: Rectangle with Corners Rounded 19">
                  <a:extLst>
                    <a:ext uri="{FF2B5EF4-FFF2-40B4-BE49-F238E27FC236}">
                      <a16:creationId xmlns:a16="http://schemas.microsoft.com/office/drawing/2014/main" id="{AA1E5422-8F63-4B21-AC88-B0AEB860F7AA}"/>
                    </a:ext>
                  </a:extLst>
                </p:cNvPr>
                <p:cNvSpPr/>
                <p:nvPr/>
              </p:nvSpPr>
              <p:spPr>
                <a:xfrm rot="16200000">
                  <a:off x="10255712" y="1217693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>
                  <a:outerShdw blurRad="508000" dir="8100000" algn="tr" rotWithShape="0">
                    <a:schemeClr val="accent3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21" name="Isosceles Triangle 20">
                  <a:extLst>
                    <a:ext uri="{FF2B5EF4-FFF2-40B4-BE49-F238E27FC236}">
                      <a16:creationId xmlns:a16="http://schemas.microsoft.com/office/drawing/2014/main" id="{385DFF27-3A43-4F04-BE4C-90C4B3C10575}"/>
                    </a:ext>
                  </a:extLst>
                </p:cNvPr>
                <p:cNvSpPr/>
                <p:nvPr/>
              </p:nvSpPr>
              <p:spPr>
                <a:xfrm flipV="1">
                  <a:off x="9888480" y="2094105"/>
                  <a:ext cx="132186" cy="191962"/>
                </a:xfrm>
                <a:prstGeom prst="triangl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22" name="Rectangle 21">
                  <a:extLst>
                    <a:ext uri="{FF2B5EF4-FFF2-40B4-BE49-F238E27FC236}">
                      <a16:creationId xmlns:a16="http://schemas.microsoft.com/office/drawing/2014/main" id="{E5DA83F7-CD18-4E55-BA1A-6A6AFFD8D311}"/>
                    </a:ext>
                  </a:extLst>
                </p:cNvPr>
                <p:cNvSpPr/>
                <p:nvPr/>
              </p:nvSpPr>
              <p:spPr>
                <a:xfrm>
                  <a:off x="10224544" y="1995957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accent3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0942AF7E-78E1-43F2-9195-0B6F528EF42B}"/>
                    </a:ext>
                  </a:extLst>
                </p:cNvPr>
                <p:cNvSpPr/>
                <p:nvPr/>
              </p:nvSpPr>
              <p:spPr>
                <a:xfrm>
                  <a:off x="10224544" y="2243669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24" name="Rectangle 23">
                  <a:extLst>
                    <a:ext uri="{FF2B5EF4-FFF2-40B4-BE49-F238E27FC236}">
                      <a16:creationId xmlns:a16="http://schemas.microsoft.com/office/drawing/2014/main" id="{FDB6E116-C299-4C58-B8E3-388AF292E04F}"/>
                    </a:ext>
                  </a:extLst>
                </p:cNvPr>
                <p:cNvSpPr/>
                <p:nvPr/>
              </p:nvSpPr>
              <p:spPr>
                <a:xfrm>
                  <a:off x="9594393" y="2269793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solidFill>
                        <a:schemeClr val="accent3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85%</a:t>
                  </a:r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1DACB086-B37A-4AD1-8115-E3EA85D56778}"/>
                  </a:ext>
                </a:extLst>
              </p:cNvPr>
              <p:cNvGrpSpPr/>
              <p:nvPr/>
            </p:nvGrpSpPr>
            <p:grpSpPr>
              <a:xfrm>
                <a:off x="8837988" y="3443455"/>
                <a:ext cx="2324923" cy="804151"/>
                <a:chOff x="4920883" y="3142312"/>
                <a:chExt cx="2324923" cy="804151"/>
              </a:xfrm>
            </p:grpSpPr>
            <p:sp>
              <p:nvSpPr>
                <p:cNvPr id="26" name="Speech Bubble: Rectangle with Corners Rounded 25">
                  <a:extLst>
                    <a:ext uri="{FF2B5EF4-FFF2-40B4-BE49-F238E27FC236}">
                      <a16:creationId xmlns:a16="http://schemas.microsoft.com/office/drawing/2014/main" id="{5B545A3D-D38F-4F3B-B1DE-0B08B4F14216}"/>
                    </a:ext>
                  </a:extLst>
                </p:cNvPr>
                <p:cNvSpPr/>
                <p:nvPr/>
              </p:nvSpPr>
              <p:spPr>
                <a:xfrm rot="16200000">
                  <a:off x="5681269" y="2381926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>
                  <a:outerShdw blurRad="508000" dir="8100000" algn="tr" rotWithShape="0">
                    <a:schemeClr val="accent4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27" name="Isosceles Triangle 26">
                  <a:extLst>
                    <a:ext uri="{FF2B5EF4-FFF2-40B4-BE49-F238E27FC236}">
                      <a16:creationId xmlns:a16="http://schemas.microsoft.com/office/drawing/2014/main" id="{BACF65D2-A32F-4CE0-920E-7D2D8C704E24}"/>
                    </a:ext>
                  </a:extLst>
                </p:cNvPr>
                <p:cNvSpPr/>
                <p:nvPr/>
              </p:nvSpPr>
              <p:spPr>
                <a:xfrm>
                  <a:off x="5314037" y="3258338"/>
                  <a:ext cx="132186" cy="191962"/>
                </a:xfrm>
                <a:prstGeom prst="triangle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7D5DEA42-0945-40A6-82D8-C01BC7AD4AE6}"/>
                    </a:ext>
                  </a:extLst>
                </p:cNvPr>
                <p:cNvSpPr/>
                <p:nvPr/>
              </p:nvSpPr>
              <p:spPr>
                <a:xfrm>
                  <a:off x="5650101" y="3160190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accent4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02E097D4-2287-496D-85F2-A86D0EED8418}"/>
                    </a:ext>
                  </a:extLst>
                </p:cNvPr>
                <p:cNvSpPr/>
                <p:nvPr/>
              </p:nvSpPr>
              <p:spPr>
                <a:xfrm>
                  <a:off x="5650101" y="3407902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359CC6CA-8341-41F1-9F88-18CA34388E3A}"/>
                    </a:ext>
                  </a:extLst>
                </p:cNvPr>
                <p:cNvSpPr/>
                <p:nvPr/>
              </p:nvSpPr>
              <p:spPr>
                <a:xfrm>
                  <a:off x="5019950" y="3434026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solidFill>
                        <a:schemeClr val="accent4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55%</a:t>
                  </a: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18A2814D-D961-4E13-9E4B-4B1EC6D2E89B}"/>
                  </a:ext>
                </a:extLst>
              </p:cNvPr>
              <p:cNvGrpSpPr/>
              <p:nvPr/>
            </p:nvGrpSpPr>
            <p:grpSpPr>
              <a:xfrm>
                <a:off x="7014302" y="5045576"/>
                <a:ext cx="2324923" cy="804151"/>
                <a:chOff x="6976612" y="1987138"/>
                <a:chExt cx="2324923" cy="804151"/>
              </a:xfrm>
            </p:grpSpPr>
            <p:sp>
              <p:nvSpPr>
                <p:cNvPr id="32" name="Speech Bubble: Rectangle with Corners Rounded 31">
                  <a:extLst>
                    <a:ext uri="{FF2B5EF4-FFF2-40B4-BE49-F238E27FC236}">
                      <a16:creationId xmlns:a16="http://schemas.microsoft.com/office/drawing/2014/main" id="{E0131809-81DA-45D2-9873-9EC00A1EB9A8}"/>
                    </a:ext>
                  </a:extLst>
                </p:cNvPr>
                <p:cNvSpPr/>
                <p:nvPr/>
              </p:nvSpPr>
              <p:spPr>
                <a:xfrm rot="16200000">
                  <a:off x="7736998" y="1226752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>
                  <a:outerShdw blurRad="508000" dir="8100000" algn="tr" rotWithShape="0">
                    <a:schemeClr val="accent2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33" name="Isosceles Triangle 32">
                  <a:extLst>
                    <a:ext uri="{FF2B5EF4-FFF2-40B4-BE49-F238E27FC236}">
                      <a16:creationId xmlns:a16="http://schemas.microsoft.com/office/drawing/2014/main" id="{F2AC9560-0303-4EDD-93C8-85C7495AA898}"/>
                    </a:ext>
                  </a:extLst>
                </p:cNvPr>
                <p:cNvSpPr/>
                <p:nvPr/>
              </p:nvSpPr>
              <p:spPr>
                <a:xfrm>
                  <a:off x="7369766" y="2103164"/>
                  <a:ext cx="132186" cy="191962"/>
                </a:xfrm>
                <a:prstGeom prst="triangl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34" name="Rectangle 33">
                  <a:extLst>
                    <a:ext uri="{FF2B5EF4-FFF2-40B4-BE49-F238E27FC236}">
                      <a16:creationId xmlns:a16="http://schemas.microsoft.com/office/drawing/2014/main" id="{B5CAF1D1-12DE-4BAB-B154-D589C3D523D5}"/>
                    </a:ext>
                  </a:extLst>
                </p:cNvPr>
                <p:cNvSpPr/>
                <p:nvPr/>
              </p:nvSpPr>
              <p:spPr>
                <a:xfrm>
                  <a:off x="7705830" y="2005016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gradFill>
                        <a:gsLst>
                          <a:gs pos="0">
                            <a:schemeClr val="accent2">
                              <a:lumMod val="75000"/>
                            </a:schemeClr>
                          </a:gs>
                          <a:gs pos="100000">
                            <a:schemeClr val="accent2"/>
                          </a:gs>
                        </a:gsLst>
                        <a:lin ang="5400000" scaled="1"/>
                      </a:gra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3E9885FF-EC17-4C01-B058-2946F1DC3494}"/>
                    </a:ext>
                  </a:extLst>
                </p:cNvPr>
                <p:cNvSpPr/>
                <p:nvPr/>
              </p:nvSpPr>
              <p:spPr>
                <a:xfrm>
                  <a:off x="7705830" y="2252728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EFB8D1F7-F71F-4D8C-B869-EE8E1CFA7D6C}"/>
                    </a:ext>
                  </a:extLst>
                </p:cNvPr>
                <p:cNvSpPr/>
                <p:nvPr/>
              </p:nvSpPr>
              <p:spPr>
                <a:xfrm>
                  <a:off x="7075679" y="2278852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gradFill>
                        <a:gsLst>
                          <a:gs pos="0">
                            <a:schemeClr val="accent2">
                              <a:lumMod val="75000"/>
                            </a:schemeClr>
                          </a:gs>
                          <a:gs pos="100000">
                            <a:schemeClr val="accent2"/>
                          </a:gs>
                        </a:gsLst>
                        <a:lin ang="5400000" scaled="1"/>
                      </a:gra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25%</a:t>
                  </a:r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8B545365-3C1C-4032-A0E1-BAEBA781E076}"/>
                  </a:ext>
                </a:extLst>
              </p:cNvPr>
              <p:cNvGrpSpPr/>
              <p:nvPr/>
            </p:nvGrpSpPr>
            <p:grpSpPr>
              <a:xfrm>
                <a:off x="2583487" y="4131580"/>
                <a:ext cx="2324923" cy="804151"/>
                <a:chOff x="4475244" y="2010751"/>
                <a:chExt cx="2324923" cy="804151"/>
              </a:xfrm>
            </p:grpSpPr>
            <p:sp>
              <p:nvSpPr>
                <p:cNvPr id="38" name="Speech Bubble: Rectangle with Corners Rounded 37">
                  <a:extLst>
                    <a:ext uri="{FF2B5EF4-FFF2-40B4-BE49-F238E27FC236}">
                      <a16:creationId xmlns:a16="http://schemas.microsoft.com/office/drawing/2014/main" id="{C8765B3B-5206-43DC-AB27-A63356C91F11}"/>
                    </a:ext>
                  </a:extLst>
                </p:cNvPr>
                <p:cNvSpPr/>
                <p:nvPr/>
              </p:nvSpPr>
              <p:spPr>
                <a:xfrm rot="16200000">
                  <a:off x="5235630" y="1250365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>
                  <a:outerShdw blurRad="508000" dir="8100000" algn="tr" rotWithShape="0">
                    <a:schemeClr val="accent1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39" name="Isosceles Triangle 38">
                  <a:extLst>
                    <a:ext uri="{FF2B5EF4-FFF2-40B4-BE49-F238E27FC236}">
                      <a16:creationId xmlns:a16="http://schemas.microsoft.com/office/drawing/2014/main" id="{1EE2B354-E53C-4EFD-B2B7-AC3B9805AAC0}"/>
                    </a:ext>
                  </a:extLst>
                </p:cNvPr>
                <p:cNvSpPr/>
                <p:nvPr/>
              </p:nvSpPr>
              <p:spPr>
                <a:xfrm flipV="1">
                  <a:off x="4868398" y="2126777"/>
                  <a:ext cx="132186" cy="191962"/>
                </a:xfrm>
                <a:prstGeom prst="triangl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7D3B671F-AD73-481A-8713-4030D3DF7A15}"/>
                    </a:ext>
                  </a:extLst>
                </p:cNvPr>
                <p:cNvSpPr/>
                <p:nvPr/>
              </p:nvSpPr>
              <p:spPr>
                <a:xfrm>
                  <a:off x="5204462" y="2028629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gradFill>
                        <a:gsLst>
                          <a:gs pos="0">
                            <a:schemeClr val="accent1">
                              <a:lumMod val="75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</a:gra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1" name="Rectangle 40">
                  <a:extLst>
                    <a:ext uri="{FF2B5EF4-FFF2-40B4-BE49-F238E27FC236}">
                      <a16:creationId xmlns:a16="http://schemas.microsoft.com/office/drawing/2014/main" id="{913560AA-E6D1-49B0-920A-60B3565BF512}"/>
                    </a:ext>
                  </a:extLst>
                </p:cNvPr>
                <p:cNvSpPr/>
                <p:nvPr/>
              </p:nvSpPr>
              <p:spPr>
                <a:xfrm>
                  <a:off x="5204462" y="2276341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37111572-EB6D-4246-9018-0E06AA7118B0}"/>
                    </a:ext>
                  </a:extLst>
                </p:cNvPr>
                <p:cNvSpPr/>
                <p:nvPr/>
              </p:nvSpPr>
              <p:spPr>
                <a:xfrm>
                  <a:off x="4574311" y="2302465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gradFill>
                        <a:gsLst>
                          <a:gs pos="0">
                            <a:schemeClr val="accent1">
                              <a:lumMod val="75000"/>
                            </a:schemeClr>
                          </a:gs>
                          <a:gs pos="100000">
                            <a:schemeClr val="accent1"/>
                          </a:gs>
                        </a:gsLst>
                        <a:lin ang="5400000" scaled="1"/>
                      </a:gra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45%</a:t>
                  </a: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B564FD54-C07D-4E12-BE73-21E49C714F7B}"/>
                  </a:ext>
                </a:extLst>
              </p:cNvPr>
              <p:cNvGrpSpPr/>
              <p:nvPr/>
            </p:nvGrpSpPr>
            <p:grpSpPr>
              <a:xfrm>
                <a:off x="6269810" y="1021403"/>
                <a:ext cx="2324923" cy="804151"/>
                <a:chOff x="7372789" y="3142312"/>
                <a:chExt cx="2324923" cy="804151"/>
              </a:xfrm>
            </p:grpSpPr>
            <p:sp>
              <p:nvSpPr>
                <p:cNvPr id="44" name="Speech Bubble: Rectangle with Corners Rounded 43">
                  <a:extLst>
                    <a:ext uri="{FF2B5EF4-FFF2-40B4-BE49-F238E27FC236}">
                      <a16:creationId xmlns:a16="http://schemas.microsoft.com/office/drawing/2014/main" id="{7D854EB6-7232-45E7-B73D-5B28290C6521}"/>
                    </a:ext>
                  </a:extLst>
                </p:cNvPr>
                <p:cNvSpPr/>
                <p:nvPr/>
              </p:nvSpPr>
              <p:spPr>
                <a:xfrm rot="16200000">
                  <a:off x="8133175" y="2381926"/>
                  <a:ext cx="804151" cy="2324923"/>
                </a:xfrm>
                <a:prstGeom prst="wedgeRoundRectCallout">
                  <a:avLst>
                    <a:gd name="adj1" fmla="val 13132"/>
                    <a:gd name="adj2" fmla="val -15927"/>
                    <a:gd name="adj3" fmla="val 16667"/>
                  </a:avLst>
                </a:prstGeom>
                <a:solidFill>
                  <a:schemeClr val="tx1">
                    <a:lumMod val="85000"/>
                    <a:lumOff val="15000"/>
                  </a:schemeClr>
                </a:solidFill>
                <a:ln>
                  <a:noFill/>
                </a:ln>
                <a:effectLst>
                  <a:outerShdw blurRad="508000" dir="8100000" algn="tr" rotWithShape="0">
                    <a:schemeClr val="accent5">
                      <a:alpha val="1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/>
                </a:p>
              </p:txBody>
            </p:sp>
            <p:sp>
              <p:nvSpPr>
                <p:cNvPr id="45" name="Isosceles Triangle 44">
                  <a:extLst>
                    <a:ext uri="{FF2B5EF4-FFF2-40B4-BE49-F238E27FC236}">
                      <a16:creationId xmlns:a16="http://schemas.microsoft.com/office/drawing/2014/main" id="{3E111C2D-6363-48AB-A64C-4747BD6DF381}"/>
                    </a:ext>
                  </a:extLst>
                </p:cNvPr>
                <p:cNvSpPr/>
                <p:nvPr/>
              </p:nvSpPr>
              <p:spPr>
                <a:xfrm flipV="1">
                  <a:off x="7765943" y="3258338"/>
                  <a:ext cx="132186" cy="191962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Nexa Bold" panose="02000000000000000000" pitchFamily="50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7B370989-F5A7-4C77-B78B-D125FE698975}"/>
                    </a:ext>
                  </a:extLst>
                </p:cNvPr>
                <p:cNvSpPr/>
                <p:nvPr/>
              </p:nvSpPr>
              <p:spPr>
                <a:xfrm>
                  <a:off x="8102007" y="3160190"/>
                  <a:ext cx="1416344" cy="33361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400" b="1" dirty="0">
                      <a:solidFill>
                        <a:schemeClr val="accent5"/>
                      </a:solidFill>
                      <a:cs typeface="Segoe UI" panose="020B0502040204020203" pitchFamily="34" charset="0"/>
                    </a:rPr>
                    <a:t>Your Text Here</a:t>
                  </a: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C780C0CB-FE09-4177-B25F-028F958BC7C7}"/>
                    </a:ext>
                  </a:extLst>
                </p:cNvPr>
                <p:cNvSpPr/>
                <p:nvPr/>
              </p:nvSpPr>
              <p:spPr>
                <a:xfrm>
                  <a:off x="8102007" y="3407902"/>
                  <a:ext cx="1551128" cy="52078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1200" dirty="0">
                      <a:solidFill>
                        <a:schemeClr val="bg1"/>
                      </a:solidFill>
                      <a:latin typeface="+mj-lt"/>
                      <a:cs typeface="Segoe UI Light" panose="020B0502040204020203" pitchFamily="34" charset="0"/>
                    </a:rPr>
                    <a:t>A wonderful serenity has taken possession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DF2C6AD7-CE22-4270-83EF-EF159806A1C5}"/>
                    </a:ext>
                  </a:extLst>
                </p:cNvPr>
                <p:cNvSpPr/>
                <p:nvPr/>
              </p:nvSpPr>
              <p:spPr>
                <a:xfrm>
                  <a:off x="7471856" y="3434026"/>
                  <a:ext cx="720360" cy="42742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en-US" sz="2000" b="1" dirty="0">
                      <a:solidFill>
                        <a:schemeClr val="accent5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rPr>
                    <a:t>35%</a:t>
                  </a:r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E352DB08-00CF-40C8-9C23-9E5B133956A9}"/>
                </a:ext>
              </a:extLst>
            </p:cNvPr>
            <p:cNvGrpSpPr/>
            <p:nvPr/>
          </p:nvGrpSpPr>
          <p:grpSpPr>
            <a:xfrm>
              <a:off x="1633138" y="720474"/>
              <a:ext cx="4738978" cy="2365494"/>
              <a:chOff x="838591" y="831916"/>
              <a:chExt cx="4738978" cy="2365494"/>
            </a:xfrm>
          </p:grpSpPr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773C7E65-5510-4CA4-97D5-B37E8DC72262}"/>
                  </a:ext>
                </a:extLst>
              </p:cNvPr>
              <p:cNvSpPr txBox="1"/>
              <p:nvPr/>
            </p:nvSpPr>
            <p:spPr>
              <a:xfrm>
                <a:off x="838591" y="831916"/>
                <a:ext cx="4738978" cy="144655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44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5 Stage 3D Stairs Infographic </a:t>
                </a:r>
                <a:endParaRPr lang="en-ID" sz="4400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8BA3F08E-8762-4460-A97D-1824287C34D0}"/>
                  </a:ext>
                </a:extLst>
              </p:cNvPr>
              <p:cNvSpPr/>
              <p:nvPr/>
            </p:nvSpPr>
            <p:spPr>
              <a:xfrm>
                <a:off x="843366" y="2238430"/>
                <a:ext cx="2841479" cy="95898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600" dirty="0">
                    <a:solidFill>
                      <a:schemeClr val="bg1"/>
                    </a:solidFill>
                    <a:latin typeface="+mj-lt"/>
                    <a:cs typeface="Segoe UI Light" panose="020B0502040204020203" pitchFamily="34" charset="0"/>
                  </a:rPr>
                  <a:t>A wonderful serenity has taken possession of my entire soul, like these sweet mornings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44132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4F9844EE-B9EC-4D34-98BC-B730220B95D3}"/>
              </a:ext>
            </a:extLst>
          </p:cNvPr>
          <p:cNvGrpSpPr/>
          <p:nvPr/>
        </p:nvGrpSpPr>
        <p:grpSpPr>
          <a:xfrm>
            <a:off x="975803" y="912468"/>
            <a:ext cx="10298081" cy="4095951"/>
            <a:chOff x="975803" y="1752440"/>
            <a:chExt cx="10298081" cy="40959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0A3A722-03A3-4163-8C0A-57A342CEC603}"/>
                </a:ext>
              </a:extLst>
            </p:cNvPr>
            <p:cNvGrpSpPr/>
            <p:nvPr/>
          </p:nvGrpSpPr>
          <p:grpSpPr>
            <a:xfrm>
              <a:off x="2518587" y="3798833"/>
              <a:ext cx="7592976" cy="2049558"/>
              <a:chOff x="611209" y="1692122"/>
              <a:chExt cx="11079689" cy="2990722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9D12C2E-4C85-4A64-A620-1F95681EE6B4}"/>
                  </a:ext>
                </a:extLst>
              </p:cNvPr>
              <p:cNvSpPr/>
              <p:nvPr/>
            </p:nvSpPr>
            <p:spPr>
              <a:xfrm>
                <a:off x="7749665" y="2100739"/>
                <a:ext cx="1561749" cy="135625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4445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04</a:t>
                </a: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AF5E09E-E7EF-43FB-BE82-9B901D26CD54}"/>
                  </a:ext>
                </a:extLst>
              </p:cNvPr>
              <p:cNvSpPr/>
              <p:nvPr/>
            </p:nvSpPr>
            <p:spPr>
              <a:xfrm>
                <a:off x="10129149" y="1692122"/>
                <a:ext cx="1561749" cy="135625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5080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>
                    <a:latin typeface="Segoe UI" panose="020B0502040204020203" pitchFamily="34" charset="0"/>
                    <a:cs typeface="Segoe UI" panose="020B0502040204020203" pitchFamily="34" charset="0"/>
                  </a:rPr>
                  <a:t>05</a:t>
                </a:r>
                <a:endParaRPr lang="en-IN" sz="54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D1863228-A472-427C-BA61-06331DAFE61C}"/>
                  </a:ext>
                </a:extLst>
              </p:cNvPr>
              <p:cNvSpPr/>
              <p:nvPr/>
            </p:nvSpPr>
            <p:spPr>
              <a:xfrm>
                <a:off x="5370179" y="2509356"/>
                <a:ext cx="1561749" cy="135625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3810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>
                    <a:latin typeface="Segoe UI" panose="020B0502040204020203" pitchFamily="34" charset="0"/>
                    <a:cs typeface="Segoe UI" panose="020B0502040204020203" pitchFamily="34" charset="0"/>
                  </a:rPr>
                  <a:t>03</a:t>
                </a:r>
                <a:endParaRPr lang="en-IN" sz="54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54574FCC-4901-49A2-9B13-928E8BE0CBB8}"/>
                  </a:ext>
                </a:extLst>
              </p:cNvPr>
              <p:cNvSpPr/>
              <p:nvPr/>
            </p:nvSpPr>
            <p:spPr>
              <a:xfrm>
                <a:off x="2990694" y="2917973"/>
                <a:ext cx="1561749" cy="135625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7350">
                <a:bevelT w="0" h="3175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>
                    <a:latin typeface="Segoe UI" panose="020B0502040204020203" pitchFamily="34" charset="0"/>
                    <a:cs typeface="Segoe UI" panose="020B0502040204020203" pitchFamily="34" charset="0"/>
                  </a:rPr>
                  <a:t>02</a:t>
                </a:r>
                <a:endParaRPr lang="en-IN" sz="5400" b="1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EBBC7350-5AC5-4A85-93CF-2F0BD37AC08F}"/>
                  </a:ext>
                </a:extLst>
              </p:cNvPr>
              <p:cNvSpPr/>
              <p:nvPr/>
            </p:nvSpPr>
            <p:spPr>
              <a:xfrm>
                <a:off x="611209" y="3326588"/>
                <a:ext cx="1561749" cy="1356256"/>
              </a:xfrm>
              <a:prstGeom prst="rect">
                <a:avLst/>
              </a:prstGeom>
              <a:ln>
                <a:noFill/>
              </a:ln>
              <a:effectLst>
                <a:reflection blurRad="114300" stA="21000" endPos="65000" dir="5400000" sy="-100000" algn="bl" rotWithShape="0"/>
              </a:effectLst>
              <a:scene3d>
                <a:camera prst="isometricTopUp"/>
                <a:lightRig rig="threePt" dir="t">
                  <a:rot lat="0" lon="0" rev="0"/>
                </a:lightRig>
              </a:scene3d>
              <a:sp3d extrusionH="381000">
                <a:bevelT w="0" h="25400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5400" b="1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01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3155C2C-733D-411C-8BED-221D9CA2899C}"/>
                </a:ext>
              </a:extLst>
            </p:cNvPr>
            <p:cNvGrpSpPr/>
            <p:nvPr/>
          </p:nvGrpSpPr>
          <p:grpSpPr>
            <a:xfrm>
              <a:off x="8603786" y="1752440"/>
              <a:ext cx="2670098" cy="684879"/>
              <a:chOff x="1009474" y="1560718"/>
              <a:chExt cx="2670098" cy="684879"/>
            </a:xfrm>
          </p:grpSpPr>
          <p:sp>
            <p:nvSpPr>
              <p:cNvPr id="40" name="Rectangle: Rounded Corners 39">
                <a:extLst>
                  <a:ext uri="{FF2B5EF4-FFF2-40B4-BE49-F238E27FC236}">
                    <a16:creationId xmlns:a16="http://schemas.microsoft.com/office/drawing/2014/main" id="{CB1864A6-FC53-441F-9884-348FAF3DEC01}"/>
                  </a:ext>
                </a:extLst>
              </p:cNvPr>
              <p:cNvSpPr/>
              <p:nvPr/>
            </p:nvSpPr>
            <p:spPr>
              <a:xfrm>
                <a:off x="1283026" y="1560718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5129BAD8-B782-4BFF-BA94-58BF99FD2FD6}"/>
                  </a:ext>
                </a:extLst>
              </p:cNvPr>
              <p:cNvSpPr txBox="1"/>
              <p:nvPr/>
            </p:nvSpPr>
            <p:spPr>
              <a:xfrm>
                <a:off x="1634681" y="1564883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bg1"/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5B3EDC2A-980D-4017-BE42-EE83CBD0D64F}"/>
                  </a:ext>
                </a:extLst>
              </p:cNvPr>
              <p:cNvSpPr txBox="1"/>
              <p:nvPr/>
            </p:nvSpPr>
            <p:spPr>
              <a:xfrm>
                <a:off x="1634681" y="1736478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5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C4033C28-DEBA-47AE-9C7A-006D74F8D134}"/>
                  </a:ext>
                </a:extLst>
              </p:cNvPr>
              <p:cNvGrpSpPr/>
              <p:nvPr/>
            </p:nvGrpSpPr>
            <p:grpSpPr>
              <a:xfrm>
                <a:off x="1009474" y="1632043"/>
                <a:ext cx="547103" cy="559671"/>
                <a:chOff x="7107392" y="2071195"/>
                <a:chExt cx="547103" cy="559671"/>
              </a:xfrm>
            </p:grpSpPr>
            <p:sp>
              <p:nvSpPr>
                <p:cNvPr id="44" name="Rectangle: Rounded Corners 43">
                  <a:extLst>
                    <a:ext uri="{FF2B5EF4-FFF2-40B4-BE49-F238E27FC236}">
                      <a16:creationId xmlns:a16="http://schemas.microsoft.com/office/drawing/2014/main" id="{FFAB8E4F-030D-4BE3-B68B-698FC3F8F643}"/>
                    </a:ext>
                  </a:extLst>
                </p:cNvPr>
                <p:cNvSpPr/>
                <p:nvPr/>
              </p:nvSpPr>
              <p:spPr>
                <a:xfrm>
                  <a:off x="7107392" y="2071195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5"/>
                    </a:gs>
                    <a:gs pos="0">
                      <a:schemeClr val="accent5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5" name="Graphic 44">
                  <a:extLst>
                    <a:ext uri="{FF2B5EF4-FFF2-40B4-BE49-F238E27FC236}">
                      <a16:creationId xmlns:a16="http://schemas.microsoft.com/office/drawing/2014/main" id="{F1EC1755-0F07-48BD-AB61-38913270A6DE}"/>
                    </a:ext>
                  </a:extLst>
                </p:cNvPr>
                <p:cNvGrpSpPr/>
                <p:nvPr/>
              </p:nvGrpSpPr>
              <p:grpSpPr>
                <a:xfrm>
                  <a:off x="7245767" y="2215854"/>
                  <a:ext cx="270352" cy="270352"/>
                  <a:chOff x="9158990" y="272944"/>
                  <a:chExt cx="418905" cy="418905"/>
                </a:xfrm>
                <a:solidFill>
                  <a:schemeClr val="bg1"/>
                </a:solidFill>
              </p:grpSpPr>
              <p:sp>
                <p:nvSpPr>
                  <p:cNvPr id="46" name="Freeform: Shape 45">
                    <a:extLst>
                      <a:ext uri="{FF2B5EF4-FFF2-40B4-BE49-F238E27FC236}">
                        <a16:creationId xmlns:a16="http://schemas.microsoft.com/office/drawing/2014/main" id="{E848F90E-4CD1-4EA5-9DCD-1F0E80F87861}"/>
                      </a:ext>
                    </a:extLst>
                  </p:cNvPr>
                  <p:cNvSpPr/>
                  <p:nvPr/>
                </p:nvSpPr>
                <p:spPr>
                  <a:xfrm>
                    <a:off x="9303800" y="272944"/>
                    <a:ext cx="129525" cy="129525"/>
                  </a:xfrm>
                  <a:custGeom>
                    <a:avLst/>
                    <a:gdLst>
                      <a:gd name="connsiteX0" fmla="*/ 111073 w 129524"/>
                      <a:gd name="connsiteY0" fmla="*/ 111096 h 129524"/>
                      <a:gd name="connsiteX1" fmla="*/ 19029 w 129524"/>
                      <a:gd name="connsiteY1" fmla="*/ 111096 h 129524"/>
                      <a:gd name="connsiteX2" fmla="*/ 19029 w 129524"/>
                      <a:gd name="connsiteY2" fmla="*/ 19035 h 129524"/>
                      <a:gd name="connsiteX3" fmla="*/ 111073 w 129524"/>
                      <a:gd name="connsiteY3" fmla="*/ 19035 h 129524"/>
                      <a:gd name="connsiteX4" fmla="*/ 111073 w 129524"/>
                      <a:gd name="connsiteY4" fmla="*/ 11109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9524" h="129524">
                        <a:moveTo>
                          <a:pt x="111073" y="111096"/>
                        </a:moveTo>
                        <a:cubicBezTo>
                          <a:pt x="85693" y="136476"/>
                          <a:pt x="44409" y="136468"/>
                          <a:pt x="19029" y="111096"/>
                        </a:cubicBezTo>
                        <a:cubicBezTo>
                          <a:pt x="-6343" y="85716"/>
                          <a:pt x="-6343" y="44415"/>
                          <a:pt x="19029" y="19035"/>
                        </a:cubicBezTo>
                        <a:cubicBezTo>
                          <a:pt x="44409" y="-6345"/>
                          <a:pt x="85693" y="-6345"/>
                          <a:pt x="111073" y="19035"/>
                        </a:cubicBezTo>
                        <a:cubicBezTo>
                          <a:pt x="136445" y="44415"/>
                          <a:pt x="136445" y="85716"/>
                          <a:pt x="111073" y="11109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: Shape 46">
                    <a:extLst>
                      <a:ext uri="{FF2B5EF4-FFF2-40B4-BE49-F238E27FC236}">
                        <a16:creationId xmlns:a16="http://schemas.microsoft.com/office/drawing/2014/main" id="{AF2F6C42-9766-4326-AABA-D184FFD0AE4D}"/>
                      </a:ext>
                    </a:extLst>
                  </p:cNvPr>
                  <p:cNvSpPr/>
                  <p:nvPr/>
                </p:nvSpPr>
                <p:spPr>
                  <a:xfrm>
                    <a:off x="9158990" y="417741"/>
                    <a:ext cx="129525" cy="129525"/>
                  </a:xfrm>
                  <a:custGeom>
                    <a:avLst/>
                    <a:gdLst>
                      <a:gd name="connsiteX0" fmla="*/ 111111 w 129524"/>
                      <a:gd name="connsiteY0" fmla="*/ 111096 h 129524"/>
                      <a:gd name="connsiteX1" fmla="*/ 19075 w 129524"/>
                      <a:gd name="connsiteY1" fmla="*/ 111096 h 129524"/>
                      <a:gd name="connsiteX2" fmla="*/ 19075 w 129524"/>
                      <a:gd name="connsiteY2" fmla="*/ 19035 h 129524"/>
                      <a:gd name="connsiteX3" fmla="*/ 111111 w 129524"/>
                      <a:gd name="connsiteY3" fmla="*/ 19035 h 129524"/>
                      <a:gd name="connsiteX4" fmla="*/ 111111 w 129524"/>
                      <a:gd name="connsiteY4" fmla="*/ 11109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9524" h="129524">
                        <a:moveTo>
                          <a:pt x="111111" y="111096"/>
                        </a:moveTo>
                        <a:cubicBezTo>
                          <a:pt x="85739" y="136476"/>
                          <a:pt x="44447" y="136476"/>
                          <a:pt x="19075" y="111096"/>
                        </a:cubicBezTo>
                        <a:cubicBezTo>
                          <a:pt x="-6362" y="85650"/>
                          <a:pt x="-6354" y="44473"/>
                          <a:pt x="19075" y="19035"/>
                        </a:cubicBezTo>
                        <a:cubicBezTo>
                          <a:pt x="44447" y="-6345"/>
                          <a:pt x="85739" y="-6345"/>
                          <a:pt x="111111" y="19035"/>
                        </a:cubicBezTo>
                        <a:cubicBezTo>
                          <a:pt x="136549" y="44481"/>
                          <a:pt x="136549" y="85658"/>
                          <a:pt x="111111" y="11109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: Shape 47">
                    <a:extLst>
                      <a:ext uri="{FF2B5EF4-FFF2-40B4-BE49-F238E27FC236}">
                        <a16:creationId xmlns:a16="http://schemas.microsoft.com/office/drawing/2014/main" id="{E6990741-EF7C-4378-8917-3672BA870006}"/>
                      </a:ext>
                    </a:extLst>
                  </p:cNvPr>
                  <p:cNvSpPr/>
                  <p:nvPr/>
                </p:nvSpPr>
                <p:spPr>
                  <a:xfrm>
                    <a:off x="9448523" y="417741"/>
                    <a:ext cx="129525" cy="129525"/>
                  </a:xfrm>
                  <a:custGeom>
                    <a:avLst/>
                    <a:gdLst>
                      <a:gd name="connsiteX0" fmla="*/ 111114 w 129524"/>
                      <a:gd name="connsiteY0" fmla="*/ 111096 h 129524"/>
                      <a:gd name="connsiteX1" fmla="*/ 19078 w 129524"/>
                      <a:gd name="connsiteY1" fmla="*/ 111096 h 129524"/>
                      <a:gd name="connsiteX2" fmla="*/ 19078 w 129524"/>
                      <a:gd name="connsiteY2" fmla="*/ 19035 h 129524"/>
                      <a:gd name="connsiteX3" fmla="*/ 111114 w 129524"/>
                      <a:gd name="connsiteY3" fmla="*/ 19035 h 129524"/>
                      <a:gd name="connsiteX4" fmla="*/ 111114 w 129524"/>
                      <a:gd name="connsiteY4" fmla="*/ 11109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29524" h="129524">
                        <a:moveTo>
                          <a:pt x="111114" y="111096"/>
                        </a:moveTo>
                        <a:cubicBezTo>
                          <a:pt x="85742" y="136476"/>
                          <a:pt x="44450" y="136476"/>
                          <a:pt x="19078" y="111096"/>
                        </a:cubicBezTo>
                        <a:cubicBezTo>
                          <a:pt x="-6359" y="85650"/>
                          <a:pt x="-6359" y="44473"/>
                          <a:pt x="19078" y="19035"/>
                        </a:cubicBezTo>
                        <a:cubicBezTo>
                          <a:pt x="44450" y="-6345"/>
                          <a:pt x="85742" y="-6345"/>
                          <a:pt x="111114" y="19035"/>
                        </a:cubicBezTo>
                        <a:cubicBezTo>
                          <a:pt x="136552" y="44481"/>
                          <a:pt x="136544" y="85658"/>
                          <a:pt x="111114" y="11109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: Shape 48">
                    <a:extLst>
                      <a:ext uri="{FF2B5EF4-FFF2-40B4-BE49-F238E27FC236}">
                        <a16:creationId xmlns:a16="http://schemas.microsoft.com/office/drawing/2014/main" id="{7658FB6C-F1A5-49E9-B546-F9F8C1D5DC22}"/>
                      </a:ext>
                    </a:extLst>
                  </p:cNvPr>
                  <p:cNvSpPr/>
                  <p:nvPr/>
                </p:nvSpPr>
                <p:spPr>
                  <a:xfrm>
                    <a:off x="9303800" y="562538"/>
                    <a:ext cx="129525" cy="129525"/>
                  </a:xfrm>
                  <a:custGeom>
                    <a:avLst/>
                    <a:gdLst>
                      <a:gd name="connsiteX0" fmla="*/ 130100 w 129524"/>
                      <a:gd name="connsiteY0" fmla="*/ 65066 h 129524"/>
                      <a:gd name="connsiteX1" fmla="*/ 111073 w 129524"/>
                      <a:gd name="connsiteY1" fmla="*/ 111096 h 129524"/>
                      <a:gd name="connsiteX2" fmla="*/ 19029 w 129524"/>
                      <a:gd name="connsiteY2" fmla="*/ 111096 h 129524"/>
                      <a:gd name="connsiteX3" fmla="*/ 19029 w 129524"/>
                      <a:gd name="connsiteY3" fmla="*/ 19035 h 129524"/>
                      <a:gd name="connsiteX4" fmla="*/ 111073 w 129524"/>
                      <a:gd name="connsiteY4" fmla="*/ 19035 h 129524"/>
                      <a:gd name="connsiteX5" fmla="*/ 130100 w 129524"/>
                      <a:gd name="connsiteY5" fmla="*/ 65066 h 1295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29524" h="129524">
                        <a:moveTo>
                          <a:pt x="130100" y="65066"/>
                        </a:moveTo>
                        <a:cubicBezTo>
                          <a:pt x="130100" y="81732"/>
                          <a:pt x="123764" y="98406"/>
                          <a:pt x="111073" y="111096"/>
                        </a:cubicBezTo>
                        <a:cubicBezTo>
                          <a:pt x="85693" y="136476"/>
                          <a:pt x="44409" y="136476"/>
                          <a:pt x="19029" y="111096"/>
                        </a:cubicBezTo>
                        <a:cubicBezTo>
                          <a:pt x="-6343" y="85716"/>
                          <a:pt x="-6343" y="44415"/>
                          <a:pt x="19029" y="19035"/>
                        </a:cubicBezTo>
                        <a:cubicBezTo>
                          <a:pt x="44409" y="-6345"/>
                          <a:pt x="85693" y="-6345"/>
                          <a:pt x="111073" y="19035"/>
                        </a:cubicBezTo>
                        <a:cubicBezTo>
                          <a:pt x="123764" y="31725"/>
                          <a:pt x="130100" y="48400"/>
                          <a:pt x="130100" y="65066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0" name="Freeform: Shape 49">
                    <a:extLst>
                      <a:ext uri="{FF2B5EF4-FFF2-40B4-BE49-F238E27FC236}">
                        <a16:creationId xmlns:a16="http://schemas.microsoft.com/office/drawing/2014/main" id="{A68ED59B-944A-43C1-BF74-85D244DDDBA4}"/>
                      </a:ext>
                    </a:extLst>
                  </p:cNvPr>
                  <p:cNvSpPr/>
                  <p:nvPr/>
                </p:nvSpPr>
                <p:spPr>
                  <a:xfrm>
                    <a:off x="9231219" y="345145"/>
                    <a:ext cx="62303" cy="62303"/>
                  </a:xfrm>
                  <a:custGeom>
                    <a:avLst/>
                    <a:gdLst>
                      <a:gd name="connsiteX0" fmla="*/ 60150 w 62302"/>
                      <a:gd name="connsiteY0" fmla="*/ 5245 h 62302"/>
                      <a:gd name="connsiteX1" fmla="*/ 43025 w 62302"/>
                      <a:gd name="connsiteY1" fmla="*/ 2225 h 62302"/>
                      <a:gd name="connsiteX2" fmla="*/ 2226 w 62302"/>
                      <a:gd name="connsiteY2" fmla="*/ 43033 h 62302"/>
                      <a:gd name="connsiteX3" fmla="*/ 5243 w 62302"/>
                      <a:gd name="connsiteY3" fmla="*/ 60161 h 62302"/>
                      <a:gd name="connsiteX4" fmla="*/ 22368 w 62302"/>
                      <a:gd name="connsiteY4" fmla="*/ 57143 h 62302"/>
                      <a:gd name="connsiteX5" fmla="*/ 57131 w 62302"/>
                      <a:gd name="connsiteY5" fmla="*/ 22373 h 62302"/>
                      <a:gd name="connsiteX6" fmla="*/ 60150 w 62302"/>
                      <a:gd name="connsiteY6" fmla="*/ 5245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60150" y="5245"/>
                        </a:moveTo>
                        <a:cubicBezTo>
                          <a:pt x="56254" y="-319"/>
                          <a:pt x="48587" y="-1670"/>
                          <a:pt x="43025" y="2225"/>
                        </a:cubicBezTo>
                        <a:cubicBezTo>
                          <a:pt x="27105" y="13377"/>
                          <a:pt x="13378" y="27106"/>
                          <a:pt x="2226" y="43033"/>
                        </a:cubicBezTo>
                        <a:cubicBezTo>
                          <a:pt x="-1671" y="48597"/>
                          <a:pt x="-319" y="56265"/>
                          <a:pt x="5243" y="60161"/>
                        </a:cubicBezTo>
                        <a:cubicBezTo>
                          <a:pt x="10806" y="64059"/>
                          <a:pt x="18472" y="62707"/>
                          <a:pt x="22368" y="57143"/>
                        </a:cubicBezTo>
                        <a:cubicBezTo>
                          <a:pt x="31871" y="43572"/>
                          <a:pt x="43566" y="31874"/>
                          <a:pt x="57131" y="22373"/>
                        </a:cubicBezTo>
                        <a:cubicBezTo>
                          <a:pt x="62695" y="18477"/>
                          <a:pt x="64046" y="10808"/>
                          <a:pt x="60150" y="5245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A3A54C08-8CD9-4CDD-9D16-E4125D8A7467}"/>
                      </a:ext>
                    </a:extLst>
                  </p:cNvPr>
                  <p:cNvSpPr/>
                  <p:nvPr/>
                </p:nvSpPr>
                <p:spPr>
                  <a:xfrm>
                    <a:off x="9444108" y="558080"/>
                    <a:ext cx="62303" cy="62303"/>
                  </a:xfrm>
                  <a:custGeom>
                    <a:avLst/>
                    <a:gdLst>
                      <a:gd name="connsiteX0" fmla="*/ 2225 w 62302"/>
                      <a:gd name="connsiteY0" fmla="*/ 57143 h 62302"/>
                      <a:gd name="connsiteX1" fmla="*/ 19350 w 62302"/>
                      <a:gd name="connsiteY1" fmla="*/ 60163 h 62302"/>
                      <a:gd name="connsiteX2" fmla="*/ 60150 w 62302"/>
                      <a:gd name="connsiteY2" fmla="*/ 19355 h 62302"/>
                      <a:gd name="connsiteX3" fmla="*/ 57133 w 62302"/>
                      <a:gd name="connsiteY3" fmla="*/ 2227 h 62302"/>
                      <a:gd name="connsiteX4" fmla="*/ 40008 w 62302"/>
                      <a:gd name="connsiteY4" fmla="*/ 5245 h 62302"/>
                      <a:gd name="connsiteX5" fmla="*/ 5245 w 62302"/>
                      <a:gd name="connsiteY5" fmla="*/ 40015 h 62302"/>
                      <a:gd name="connsiteX6" fmla="*/ 2225 w 62302"/>
                      <a:gd name="connsiteY6" fmla="*/ 57143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2225" y="57143"/>
                        </a:moveTo>
                        <a:cubicBezTo>
                          <a:pt x="6125" y="62711"/>
                          <a:pt x="13793" y="64056"/>
                          <a:pt x="19350" y="60163"/>
                        </a:cubicBezTo>
                        <a:cubicBezTo>
                          <a:pt x="35271" y="49011"/>
                          <a:pt x="48998" y="35282"/>
                          <a:pt x="60150" y="19355"/>
                        </a:cubicBezTo>
                        <a:cubicBezTo>
                          <a:pt x="64046" y="13791"/>
                          <a:pt x="62694" y="6123"/>
                          <a:pt x="57133" y="2227"/>
                        </a:cubicBezTo>
                        <a:cubicBezTo>
                          <a:pt x="51571" y="-1671"/>
                          <a:pt x="43904" y="-320"/>
                          <a:pt x="40008" y="5245"/>
                        </a:cubicBezTo>
                        <a:cubicBezTo>
                          <a:pt x="30505" y="18816"/>
                          <a:pt x="18809" y="30514"/>
                          <a:pt x="5245" y="40015"/>
                        </a:cubicBezTo>
                        <a:cubicBezTo>
                          <a:pt x="-319" y="43911"/>
                          <a:pt x="-1670" y="51580"/>
                          <a:pt x="2225" y="57143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0CADC56-00FF-4D3D-AD67-9E707DEA6C11}"/>
                      </a:ext>
                    </a:extLst>
                  </p:cNvPr>
                  <p:cNvSpPr/>
                  <p:nvPr/>
                </p:nvSpPr>
                <p:spPr>
                  <a:xfrm>
                    <a:off x="9231220" y="558081"/>
                    <a:ext cx="62303" cy="62303"/>
                  </a:xfrm>
                  <a:custGeom>
                    <a:avLst/>
                    <a:gdLst>
                      <a:gd name="connsiteX0" fmla="*/ 57131 w 62302"/>
                      <a:gd name="connsiteY0" fmla="*/ 40014 h 62302"/>
                      <a:gd name="connsiteX1" fmla="*/ 22368 w 62302"/>
                      <a:gd name="connsiteY1" fmla="*/ 5244 h 62302"/>
                      <a:gd name="connsiteX2" fmla="*/ 5243 w 62302"/>
                      <a:gd name="connsiteY2" fmla="*/ 2225 h 62302"/>
                      <a:gd name="connsiteX3" fmla="*/ 2226 w 62302"/>
                      <a:gd name="connsiteY3" fmla="*/ 19354 h 62302"/>
                      <a:gd name="connsiteX4" fmla="*/ 43026 w 62302"/>
                      <a:gd name="connsiteY4" fmla="*/ 60161 h 62302"/>
                      <a:gd name="connsiteX5" fmla="*/ 60151 w 62302"/>
                      <a:gd name="connsiteY5" fmla="*/ 57142 h 62302"/>
                      <a:gd name="connsiteX6" fmla="*/ 57131 w 62302"/>
                      <a:gd name="connsiteY6" fmla="*/ 40014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57131" y="40014"/>
                        </a:moveTo>
                        <a:cubicBezTo>
                          <a:pt x="43567" y="30512"/>
                          <a:pt x="31871" y="18813"/>
                          <a:pt x="22368" y="5244"/>
                        </a:cubicBezTo>
                        <a:cubicBezTo>
                          <a:pt x="18472" y="-320"/>
                          <a:pt x="10807" y="-1669"/>
                          <a:pt x="5243" y="2225"/>
                        </a:cubicBezTo>
                        <a:cubicBezTo>
                          <a:pt x="-319" y="6122"/>
                          <a:pt x="-1670" y="13791"/>
                          <a:pt x="2226" y="19354"/>
                        </a:cubicBezTo>
                        <a:cubicBezTo>
                          <a:pt x="13378" y="35280"/>
                          <a:pt x="27105" y="49010"/>
                          <a:pt x="43026" y="60161"/>
                        </a:cubicBezTo>
                        <a:cubicBezTo>
                          <a:pt x="48592" y="64059"/>
                          <a:pt x="56257" y="62703"/>
                          <a:pt x="60151" y="57142"/>
                        </a:cubicBezTo>
                        <a:cubicBezTo>
                          <a:pt x="64045" y="51578"/>
                          <a:pt x="62694" y="43910"/>
                          <a:pt x="57131" y="40014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6CC8ACF1-EE13-4FD1-BAC5-4CC015F039D3}"/>
                      </a:ext>
                    </a:extLst>
                  </p:cNvPr>
                  <p:cNvSpPr/>
                  <p:nvPr/>
                </p:nvSpPr>
                <p:spPr>
                  <a:xfrm>
                    <a:off x="9444107" y="345145"/>
                    <a:ext cx="62303" cy="62303"/>
                  </a:xfrm>
                  <a:custGeom>
                    <a:avLst/>
                    <a:gdLst>
                      <a:gd name="connsiteX0" fmla="*/ 40008 w 62302"/>
                      <a:gd name="connsiteY0" fmla="*/ 57144 h 62302"/>
                      <a:gd name="connsiteX1" fmla="*/ 57133 w 62302"/>
                      <a:gd name="connsiteY1" fmla="*/ 60162 h 62302"/>
                      <a:gd name="connsiteX2" fmla="*/ 60150 w 62302"/>
                      <a:gd name="connsiteY2" fmla="*/ 43034 h 62302"/>
                      <a:gd name="connsiteX3" fmla="*/ 19350 w 62302"/>
                      <a:gd name="connsiteY3" fmla="*/ 2226 h 62302"/>
                      <a:gd name="connsiteX4" fmla="*/ 2225 w 62302"/>
                      <a:gd name="connsiteY4" fmla="*/ 5245 h 62302"/>
                      <a:gd name="connsiteX5" fmla="*/ 5244 w 62302"/>
                      <a:gd name="connsiteY5" fmla="*/ 22374 h 62302"/>
                      <a:gd name="connsiteX6" fmla="*/ 40008 w 62302"/>
                      <a:gd name="connsiteY6" fmla="*/ 57144 h 623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62302" h="62302">
                        <a:moveTo>
                          <a:pt x="40008" y="57144"/>
                        </a:moveTo>
                        <a:cubicBezTo>
                          <a:pt x="43902" y="62706"/>
                          <a:pt x="51567" y="64059"/>
                          <a:pt x="57133" y="60162"/>
                        </a:cubicBezTo>
                        <a:cubicBezTo>
                          <a:pt x="62695" y="56266"/>
                          <a:pt x="64046" y="48597"/>
                          <a:pt x="60150" y="43034"/>
                        </a:cubicBezTo>
                        <a:cubicBezTo>
                          <a:pt x="48997" y="27107"/>
                          <a:pt x="35271" y="13377"/>
                          <a:pt x="19350" y="2226"/>
                        </a:cubicBezTo>
                        <a:cubicBezTo>
                          <a:pt x="13788" y="-1670"/>
                          <a:pt x="6121" y="-319"/>
                          <a:pt x="2225" y="5245"/>
                        </a:cubicBezTo>
                        <a:cubicBezTo>
                          <a:pt x="-1670" y="10809"/>
                          <a:pt x="-319" y="18478"/>
                          <a:pt x="5244" y="22374"/>
                        </a:cubicBezTo>
                        <a:cubicBezTo>
                          <a:pt x="18809" y="31875"/>
                          <a:pt x="30505" y="43574"/>
                          <a:pt x="40008" y="57144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3BA10735-E593-4B6E-9623-2BEB79D4DFF6}"/>
                </a:ext>
              </a:extLst>
            </p:cNvPr>
            <p:cNvGrpSpPr/>
            <p:nvPr/>
          </p:nvGrpSpPr>
          <p:grpSpPr>
            <a:xfrm>
              <a:off x="6842534" y="2604417"/>
              <a:ext cx="2670098" cy="684879"/>
              <a:chOff x="1009474" y="2416171"/>
              <a:chExt cx="2670098" cy="684879"/>
            </a:xfrm>
          </p:grpSpPr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4C76A014-0B72-4DFF-8777-2F237712C090}"/>
                  </a:ext>
                </a:extLst>
              </p:cNvPr>
              <p:cNvSpPr/>
              <p:nvPr/>
            </p:nvSpPr>
            <p:spPr>
              <a:xfrm>
                <a:off x="1283026" y="2416171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8F32286-6BA1-4F94-A464-E171362EB2F4}"/>
                  </a:ext>
                </a:extLst>
              </p:cNvPr>
              <p:cNvSpPr txBox="1"/>
              <p:nvPr/>
            </p:nvSpPr>
            <p:spPr>
              <a:xfrm>
                <a:off x="1634681" y="2420336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bg1"/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A04B085D-B64D-4029-A8C0-F35215961F01}"/>
                  </a:ext>
                </a:extLst>
              </p:cNvPr>
              <p:cNvSpPr txBox="1"/>
              <p:nvPr/>
            </p:nvSpPr>
            <p:spPr>
              <a:xfrm>
                <a:off x="1634681" y="2591931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373028D6-C206-4700-91C2-5E412751A2B6}"/>
                  </a:ext>
                </a:extLst>
              </p:cNvPr>
              <p:cNvGrpSpPr/>
              <p:nvPr/>
            </p:nvGrpSpPr>
            <p:grpSpPr>
              <a:xfrm>
                <a:off x="1009474" y="2487496"/>
                <a:ext cx="547103" cy="559671"/>
                <a:chOff x="6256569" y="2934023"/>
                <a:chExt cx="547103" cy="559671"/>
              </a:xfrm>
            </p:grpSpPr>
            <p:sp>
              <p:nvSpPr>
                <p:cNvPr id="59" name="Rectangle: Rounded Corners 58">
                  <a:extLst>
                    <a:ext uri="{FF2B5EF4-FFF2-40B4-BE49-F238E27FC236}">
                      <a16:creationId xmlns:a16="http://schemas.microsoft.com/office/drawing/2014/main" id="{8DA82D9B-B81D-4182-AAA4-BE57389FF1B8}"/>
                    </a:ext>
                  </a:extLst>
                </p:cNvPr>
                <p:cNvSpPr/>
                <p:nvPr/>
              </p:nvSpPr>
              <p:spPr>
                <a:xfrm>
                  <a:off x="6256569" y="2934023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4"/>
                    </a:gs>
                    <a:gs pos="0">
                      <a:schemeClr val="accent4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Graphic 14">
                  <a:extLst>
                    <a:ext uri="{FF2B5EF4-FFF2-40B4-BE49-F238E27FC236}">
                      <a16:creationId xmlns:a16="http://schemas.microsoft.com/office/drawing/2014/main" id="{B77B8C26-1021-4CC4-B842-C3DA7B9E70BF}"/>
                    </a:ext>
                  </a:extLst>
                </p:cNvPr>
                <p:cNvSpPr/>
                <p:nvPr/>
              </p:nvSpPr>
              <p:spPr>
                <a:xfrm>
                  <a:off x="6394679" y="3078417"/>
                  <a:ext cx="270882" cy="270882"/>
                </a:xfrm>
                <a:custGeom>
                  <a:avLst/>
                  <a:gdLst>
                    <a:gd name="connsiteX0" fmla="*/ 266895 w 419725"/>
                    <a:gd name="connsiteY0" fmla="*/ 0 h 419725"/>
                    <a:gd name="connsiteX1" fmla="*/ 114065 w 419725"/>
                    <a:gd name="connsiteY1" fmla="*/ 152823 h 419725"/>
                    <a:gd name="connsiteX2" fmla="*/ 150487 w 419725"/>
                    <a:gd name="connsiteY2" fmla="*/ 251851 h 419725"/>
                    <a:gd name="connsiteX3" fmla="*/ 126369 w 419725"/>
                    <a:gd name="connsiteY3" fmla="*/ 275977 h 419725"/>
                    <a:gd name="connsiteX4" fmla="*/ 117672 w 419725"/>
                    <a:gd name="connsiteY4" fmla="*/ 267271 h 419725"/>
                    <a:gd name="connsiteX5" fmla="*/ 100284 w 419725"/>
                    <a:gd name="connsiteY5" fmla="*/ 267271 h 419725"/>
                    <a:gd name="connsiteX6" fmla="*/ 3600 w 419725"/>
                    <a:gd name="connsiteY6" fmla="*/ 363956 h 419725"/>
                    <a:gd name="connsiteX7" fmla="*/ 3600 w 419725"/>
                    <a:gd name="connsiteY7" fmla="*/ 381343 h 419725"/>
                    <a:gd name="connsiteX8" fmla="*/ 38383 w 419725"/>
                    <a:gd name="connsiteY8" fmla="*/ 416126 h 419725"/>
                    <a:gd name="connsiteX9" fmla="*/ 55770 w 419725"/>
                    <a:gd name="connsiteY9" fmla="*/ 416126 h 419725"/>
                    <a:gd name="connsiteX10" fmla="*/ 152446 w 419725"/>
                    <a:gd name="connsiteY10" fmla="*/ 319442 h 419725"/>
                    <a:gd name="connsiteX11" fmla="*/ 152446 w 419725"/>
                    <a:gd name="connsiteY11" fmla="*/ 302054 h 419725"/>
                    <a:gd name="connsiteX12" fmla="*/ 143757 w 419725"/>
                    <a:gd name="connsiteY12" fmla="*/ 293365 h 419725"/>
                    <a:gd name="connsiteX13" fmla="*/ 167875 w 419725"/>
                    <a:gd name="connsiteY13" fmla="*/ 269239 h 419725"/>
                    <a:gd name="connsiteX14" fmla="*/ 266895 w 419725"/>
                    <a:gd name="connsiteY14" fmla="*/ 305661 h 419725"/>
                    <a:gd name="connsiteX15" fmla="*/ 419726 w 419725"/>
                    <a:gd name="connsiteY15" fmla="*/ 152823 h 419725"/>
                    <a:gd name="connsiteX16" fmla="*/ 266895 w 419725"/>
                    <a:gd name="connsiteY16" fmla="*/ 0 h 419725"/>
                    <a:gd name="connsiteX17" fmla="*/ 266895 w 419725"/>
                    <a:gd name="connsiteY17" fmla="*/ 73780 h 419725"/>
                    <a:gd name="connsiteX18" fmla="*/ 187844 w 419725"/>
                    <a:gd name="connsiteY18" fmla="*/ 152831 h 419725"/>
                    <a:gd name="connsiteX19" fmla="*/ 175548 w 419725"/>
                    <a:gd name="connsiteY19" fmla="*/ 165127 h 419725"/>
                    <a:gd name="connsiteX20" fmla="*/ 163251 w 419725"/>
                    <a:gd name="connsiteY20" fmla="*/ 152831 h 419725"/>
                    <a:gd name="connsiteX21" fmla="*/ 266895 w 419725"/>
                    <a:gd name="connsiteY21" fmla="*/ 49187 h 419725"/>
                    <a:gd name="connsiteX22" fmla="*/ 279192 w 419725"/>
                    <a:gd name="connsiteY22" fmla="*/ 61483 h 419725"/>
                    <a:gd name="connsiteX23" fmla="*/ 266895 w 419725"/>
                    <a:gd name="connsiteY23" fmla="*/ 73780 h 419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19725" h="419725">
                      <a:moveTo>
                        <a:pt x="266895" y="0"/>
                      </a:moveTo>
                      <a:cubicBezTo>
                        <a:pt x="182622" y="0"/>
                        <a:pt x="114065" y="68558"/>
                        <a:pt x="114065" y="152823"/>
                      </a:cubicBezTo>
                      <a:cubicBezTo>
                        <a:pt x="114065" y="189614"/>
                        <a:pt x="127066" y="224299"/>
                        <a:pt x="150487" y="251851"/>
                      </a:cubicBezTo>
                      <a:lnTo>
                        <a:pt x="126369" y="275977"/>
                      </a:lnTo>
                      <a:lnTo>
                        <a:pt x="117672" y="267271"/>
                      </a:lnTo>
                      <a:cubicBezTo>
                        <a:pt x="112868" y="262476"/>
                        <a:pt x="105080" y="262476"/>
                        <a:pt x="100284" y="267271"/>
                      </a:cubicBezTo>
                      <a:lnTo>
                        <a:pt x="3600" y="363956"/>
                      </a:lnTo>
                      <a:cubicBezTo>
                        <a:pt x="-1196" y="368751"/>
                        <a:pt x="-1204" y="376539"/>
                        <a:pt x="3600" y="381343"/>
                      </a:cubicBezTo>
                      <a:lnTo>
                        <a:pt x="38383" y="416126"/>
                      </a:lnTo>
                      <a:cubicBezTo>
                        <a:pt x="43187" y="420922"/>
                        <a:pt x="50966" y="420930"/>
                        <a:pt x="55770" y="416126"/>
                      </a:cubicBezTo>
                      <a:lnTo>
                        <a:pt x="152446" y="319442"/>
                      </a:lnTo>
                      <a:cubicBezTo>
                        <a:pt x="157250" y="314646"/>
                        <a:pt x="157250" y="306858"/>
                        <a:pt x="152446" y="302054"/>
                      </a:cubicBezTo>
                      <a:lnTo>
                        <a:pt x="143757" y="293365"/>
                      </a:lnTo>
                      <a:lnTo>
                        <a:pt x="167875" y="269239"/>
                      </a:lnTo>
                      <a:cubicBezTo>
                        <a:pt x="195493" y="292717"/>
                        <a:pt x="230202" y="305661"/>
                        <a:pt x="266895" y="305661"/>
                      </a:cubicBezTo>
                      <a:cubicBezTo>
                        <a:pt x="351168" y="305661"/>
                        <a:pt x="419726" y="237104"/>
                        <a:pt x="419726" y="152823"/>
                      </a:cubicBezTo>
                      <a:cubicBezTo>
                        <a:pt x="419726" y="68558"/>
                        <a:pt x="351168" y="0"/>
                        <a:pt x="266895" y="0"/>
                      </a:cubicBezTo>
                      <a:close/>
                      <a:moveTo>
                        <a:pt x="266895" y="73780"/>
                      </a:moveTo>
                      <a:cubicBezTo>
                        <a:pt x="223308" y="73780"/>
                        <a:pt x="187844" y="109243"/>
                        <a:pt x="187844" y="152831"/>
                      </a:cubicBezTo>
                      <a:cubicBezTo>
                        <a:pt x="187844" y="159618"/>
                        <a:pt x="182335" y="165127"/>
                        <a:pt x="175548" y="165127"/>
                      </a:cubicBezTo>
                      <a:cubicBezTo>
                        <a:pt x="168752" y="165127"/>
                        <a:pt x="163251" y="159618"/>
                        <a:pt x="163251" y="152831"/>
                      </a:cubicBezTo>
                      <a:cubicBezTo>
                        <a:pt x="163251" y="95684"/>
                        <a:pt x="209749" y="49187"/>
                        <a:pt x="266895" y="49187"/>
                      </a:cubicBezTo>
                      <a:cubicBezTo>
                        <a:pt x="273683" y="49187"/>
                        <a:pt x="279192" y="54695"/>
                        <a:pt x="279192" y="61483"/>
                      </a:cubicBezTo>
                      <a:cubicBezTo>
                        <a:pt x="279192" y="68271"/>
                        <a:pt x="273683" y="73780"/>
                        <a:pt x="266895" y="7378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81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9A326096-3152-42C5-B741-5B9EED5B3A28}"/>
                </a:ext>
              </a:extLst>
            </p:cNvPr>
            <p:cNvGrpSpPr/>
            <p:nvPr/>
          </p:nvGrpSpPr>
          <p:grpSpPr>
            <a:xfrm>
              <a:off x="5234904" y="3429000"/>
              <a:ext cx="2670098" cy="684879"/>
              <a:chOff x="5529230" y="1508923"/>
              <a:chExt cx="2670098" cy="684879"/>
            </a:xfrm>
          </p:grpSpPr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9A0F9853-6C3B-4176-90A3-E03198412DE7}"/>
                  </a:ext>
                </a:extLst>
              </p:cNvPr>
              <p:cNvSpPr/>
              <p:nvPr/>
            </p:nvSpPr>
            <p:spPr>
              <a:xfrm>
                <a:off x="5802782" y="1508923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FF9C9655-E40F-4652-9FA8-A30016917E4F}"/>
                  </a:ext>
                </a:extLst>
              </p:cNvPr>
              <p:cNvSpPr txBox="1"/>
              <p:nvPr/>
            </p:nvSpPr>
            <p:spPr>
              <a:xfrm>
                <a:off x="6154437" y="1513088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bg1"/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959A3210-67DA-4C41-8DE9-CD63CC245F8B}"/>
                  </a:ext>
                </a:extLst>
              </p:cNvPr>
              <p:cNvSpPr txBox="1"/>
              <p:nvPr/>
            </p:nvSpPr>
            <p:spPr>
              <a:xfrm>
                <a:off x="6154437" y="1684683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3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07DA28CE-2AF9-4C48-9AD2-0D030E837F2F}"/>
                  </a:ext>
                </a:extLst>
              </p:cNvPr>
              <p:cNvGrpSpPr/>
              <p:nvPr/>
            </p:nvGrpSpPr>
            <p:grpSpPr>
              <a:xfrm>
                <a:off x="5529230" y="1580248"/>
                <a:ext cx="547103" cy="559671"/>
                <a:chOff x="6256569" y="2934023"/>
                <a:chExt cx="547103" cy="559671"/>
              </a:xfrm>
            </p:grpSpPr>
            <p:sp>
              <p:nvSpPr>
                <p:cNvPr id="67" name="Rectangle: Rounded Corners 66">
                  <a:extLst>
                    <a:ext uri="{FF2B5EF4-FFF2-40B4-BE49-F238E27FC236}">
                      <a16:creationId xmlns:a16="http://schemas.microsoft.com/office/drawing/2014/main" id="{9A4DB756-EE22-4CBF-B089-3BAB269E848C}"/>
                    </a:ext>
                  </a:extLst>
                </p:cNvPr>
                <p:cNvSpPr/>
                <p:nvPr/>
              </p:nvSpPr>
              <p:spPr>
                <a:xfrm>
                  <a:off x="6256569" y="2934023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3"/>
                    </a:gs>
                    <a:gs pos="0">
                      <a:schemeClr val="accent3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68" name="Graphic 2">
                  <a:extLst>
                    <a:ext uri="{FF2B5EF4-FFF2-40B4-BE49-F238E27FC236}">
                      <a16:creationId xmlns:a16="http://schemas.microsoft.com/office/drawing/2014/main" id="{C22203A0-7EA8-4286-8BFC-EDA10B28F25C}"/>
                    </a:ext>
                  </a:extLst>
                </p:cNvPr>
                <p:cNvGrpSpPr/>
                <p:nvPr/>
              </p:nvGrpSpPr>
              <p:grpSpPr>
                <a:xfrm>
                  <a:off x="6394679" y="3089263"/>
                  <a:ext cx="270882" cy="249190"/>
                  <a:chOff x="9803562" y="1740892"/>
                  <a:chExt cx="419725" cy="386114"/>
                </a:xfrm>
                <a:solidFill>
                  <a:schemeClr val="bg1"/>
                </a:solidFill>
              </p:grpSpPr>
              <p:sp>
                <p:nvSpPr>
                  <p:cNvPr id="69" name="Freeform: Shape 68">
                    <a:extLst>
                      <a:ext uri="{FF2B5EF4-FFF2-40B4-BE49-F238E27FC236}">
                        <a16:creationId xmlns:a16="http://schemas.microsoft.com/office/drawing/2014/main" id="{1FC10F60-C5C8-49D5-BCEA-946391FCFAB0}"/>
                      </a:ext>
                    </a:extLst>
                  </p:cNvPr>
                  <p:cNvSpPr/>
                  <p:nvPr/>
                </p:nvSpPr>
                <p:spPr>
                  <a:xfrm>
                    <a:off x="9901181" y="1823910"/>
                    <a:ext cx="26233" cy="26233"/>
                  </a:xfrm>
                  <a:custGeom>
                    <a:avLst/>
                    <a:gdLst>
                      <a:gd name="connsiteX0" fmla="*/ 13461 w 26232"/>
                      <a:gd name="connsiteY0" fmla="*/ 26913 h 26232"/>
                      <a:gd name="connsiteX1" fmla="*/ 26921 w 26232"/>
                      <a:gd name="connsiteY1" fmla="*/ 13453 h 26232"/>
                      <a:gd name="connsiteX2" fmla="*/ 13461 w 26232"/>
                      <a:gd name="connsiteY2" fmla="*/ 0 h 26232"/>
                      <a:gd name="connsiteX3" fmla="*/ 0 w 26232"/>
                      <a:gd name="connsiteY3" fmla="*/ 13453 h 26232"/>
                      <a:gd name="connsiteX4" fmla="*/ 13461 w 26232"/>
                      <a:gd name="connsiteY4" fmla="*/ 26913 h 2623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6232" h="26232">
                        <a:moveTo>
                          <a:pt x="13461" y="26913"/>
                        </a:moveTo>
                        <a:cubicBezTo>
                          <a:pt x="20880" y="26913"/>
                          <a:pt x="26921" y="20880"/>
                          <a:pt x="26921" y="13453"/>
                        </a:cubicBezTo>
                        <a:cubicBezTo>
                          <a:pt x="26921" y="6034"/>
                          <a:pt x="20880" y="0"/>
                          <a:pt x="13461" y="0"/>
                        </a:cubicBezTo>
                        <a:cubicBezTo>
                          <a:pt x="6042" y="0"/>
                          <a:pt x="0" y="6034"/>
                          <a:pt x="0" y="13453"/>
                        </a:cubicBezTo>
                        <a:cubicBezTo>
                          <a:pt x="0" y="20880"/>
                          <a:pt x="6042" y="26913"/>
                          <a:pt x="13461" y="26913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3AF52DBD-731C-4DE5-BF9B-B70065359FB6}"/>
                      </a:ext>
                    </a:extLst>
                  </p:cNvPr>
                  <p:cNvSpPr/>
                  <p:nvPr/>
                </p:nvSpPr>
                <p:spPr>
                  <a:xfrm>
                    <a:off x="9883252" y="1875417"/>
                    <a:ext cx="62303" cy="28692"/>
                  </a:xfrm>
                  <a:custGeom>
                    <a:avLst/>
                    <a:gdLst>
                      <a:gd name="connsiteX0" fmla="*/ 31389 w 62302"/>
                      <a:gd name="connsiteY0" fmla="*/ 0 h 28692"/>
                      <a:gd name="connsiteX1" fmla="*/ 0 w 62302"/>
                      <a:gd name="connsiteY1" fmla="*/ 28774 h 28692"/>
                      <a:gd name="connsiteX2" fmla="*/ 62778 w 62302"/>
                      <a:gd name="connsiteY2" fmla="*/ 28774 h 28692"/>
                      <a:gd name="connsiteX3" fmla="*/ 31389 w 62302"/>
                      <a:gd name="connsiteY3" fmla="*/ 0 h 286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2302" h="28692">
                        <a:moveTo>
                          <a:pt x="31389" y="0"/>
                        </a:moveTo>
                        <a:cubicBezTo>
                          <a:pt x="14936" y="0"/>
                          <a:pt x="1394" y="12674"/>
                          <a:pt x="0" y="28774"/>
                        </a:cubicBezTo>
                        <a:lnTo>
                          <a:pt x="62778" y="28774"/>
                        </a:lnTo>
                        <a:cubicBezTo>
                          <a:pt x="61385" y="12674"/>
                          <a:pt x="47842" y="0"/>
                          <a:pt x="31389" y="0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59CC4817-338C-4E58-84FB-74976C09F294}"/>
                      </a:ext>
                    </a:extLst>
                  </p:cNvPr>
                  <p:cNvSpPr/>
                  <p:nvPr/>
                </p:nvSpPr>
                <p:spPr>
                  <a:xfrm>
                    <a:off x="9803562" y="1740892"/>
                    <a:ext cx="419725" cy="220520"/>
                  </a:xfrm>
                  <a:custGeom>
                    <a:avLst/>
                    <a:gdLst>
                      <a:gd name="connsiteX0" fmla="*/ 407428 w 419725"/>
                      <a:gd name="connsiteY0" fmla="*/ 0 h 220519"/>
                      <a:gd name="connsiteX1" fmla="*/ 12297 w 419725"/>
                      <a:gd name="connsiteY1" fmla="*/ 0 h 220519"/>
                      <a:gd name="connsiteX2" fmla="*/ 0 w 419725"/>
                      <a:gd name="connsiteY2" fmla="*/ 12297 h 220519"/>
                      <a:gd name="connsiteX3" fmla="*/ 0 w 419725"/>
                      <a:gd name="connsiteY3" fmla="*/ 220938 h 220519"/>
                      <a:gd name="connsiteX4" fmla="*/ 419725 w 419725"/>
                      <a:gd name="connsiteY4" fmla="*/ 220938 h 220519"/>
                      <a:gd name="connsiteX5" fmla="*/ 419725 w 419725"/>
                      <a:gd name="connsiteY5" fmla="*/ 12297 h 220519"/>
                      <a:gd name="connsiteX6" fmla="*/ 407428 w 419725"/>
                      <a:gd name="connsiteY6" fmla="*/ 0 h 220519"/>
                      <a:gd name="connsiteX7" fmla="*/ 167177 w 419725"/>
                      <a:gd name="connsiteY7" fmla="*/ 175596 h 220519"/>
                      <a:gd name="connsiteX8" fmla="*/ 154880 w 419725"/>
                      <a:gd name="connsiteY8" fmla="*/ 187893 h 220519"/>
                      <a:gd name="connsiteX9" fmla="*/ 67279 w 419725"/>
                      <a:gd name="connsiteY9" fmla="*/ 187893 h 220519"/>
                      <a:gd name="connsiteX10" fmla="*/ 54982 w 419725"/>
                      <a:gd name="connsiteY10" fmla="*/ 175596 h 220519"/>
                      <a:gd name="connsiteX11" fmla="*/ 54982 w 419725"/>
                      <a:gd name="connsiteY11" fmla="*/ 166029 h 220519"/>
                      <a:gd name="connsiteX12" fmla="*/ 80469 w 419725"/>
                      <a:gd name="connsiteY12" fmla="*/ 119056 h 220519"/>
                      <a:gd name="connsiteX13" fmla="*/ 73026 w 419725"/>
                      <a:gd name="connsiteY13" fmla="*/ 96471 h 220519"/>
                      <a:gd name="connsiteX14" fmla="*/ 111080 w 419725"/>
                      <a:gd name="connsiteY14" fmla="*/ 58425 h 220519"/>
                      <a:gd name="connsiteX15" fmla="*/ 149134 w 419725"/>
                      <a:gd name="connsiteY15" fmla="*/ 96471 h 220519"/>
                      <a:gd name="connsiteX16" fmla="*/ 141690 w 419725"/>
                      <a:gd name="connsiteY16" fmla="*/ 119056 h 220519"/>
                      <a:gd name="connsiteX17" fmla="*/ 167177 w 419725"/>
                      <a:gd name="connsiteY17" fmla="*/ 166029 h 220519"/>
                      <a:gd name="connsiteX18" fmla="*/ 358242 w 419725"/>
                      <a:gd name="connsiteY18" fmla="*/ 183302 h 220519"/>
                      <a:gd name="connsiteX19" fmla="*/ 247474 w 419725"/>
                      <a:gd name="connsiteY19" fmla="*/ 183302 h 220519"/>
                      <a:gd name="connsiteX20" fmla="*/ 235177 w 419725"/>
                      <a:gd name="connsiteY20" fmla="*/ 171005 h 220519"/>
                      <a:gd name="connsiteX21" fmla="*/ 247474 w 419725"/>
                      <a:gd name="connsiteY21" fmla="*/ 158709 h 220519"/>
                      <a:gd name="connsiteX22" fmla="*/ 358242 w 419725"/>
                      <a:gd name="connsiteY22" fmla="*/ 158709 h 220519"/>
                      <a:gd name="connsiteX23" fmla="*/ 370538 w 419725"/>
                      <a:gd name="connsiteY23" fmla="*/ 171005 h 220519"/>
                      <a:gd name="connsiteX24" fmla="*/ 358242 w 419725"/>
                      <a:gd name="connsiteY24" fmla="*/ 183302 h 220519"/>
                      <a:gd name="connsiteX25" fmla="*/ 358242 w 419725"/>
                      <a:gd name="connsiteY25" fmla="*/ 134115 h 220519"/>
                      <a:gd name="connsiteX26" fmla="*/ 247474 w 419725"/>
                      <a:gd name="connsiteY26" fmla="*/ 134115 h 220519"/>
                      <a:gd name="connsiteX27" fmla="*/ 235177 w 419725"/>
                      <a:gd name="connsiteY27" fmla="*/ 121819 h 220519"/>
                      <a:gd name="connsiteX28" fmla="*/ 247474 w 419725"/>
                      <a:gd name="connsiteY28" fmla="*/ 109522 h 220519"/>
                      <a:gd name="connsiteX29" fmla="*/ 358242 w 419725"/>
                      <a:gd name="connsiteY29" fmla="*/ 109522 h 220519"/>
                      <a:gd name="connsiteX30" fmla="*/ 370538 w 419725"/>
                      <a:gd name="connsiteY30" fmla="*/ 121819 h 220519"/>
                      <a:gd name="connsiteX31" fmla="*/ 358242 w 419725"/>
                      <a:gd name="connsiteY31" fmla="*/ 134115 h 220519"/>
                      <a:gd name="connsiteX32" fmla="*/ 358242 w 419725"/>
                      <a:gd name="connsiteY32" fmla="*/ 84929 h 220519"/>
                      <a:gd name="connsiteX33" fmla="*/ 247474 w 419725"/>
                      <a:gd name="connsiteY33" fmla="*/ 84929 h 220519"/>
                      <a:gd name="connsiteX34" fmla="*/ 235177 w 419725"/>
                      <a:gd name="connsiteY34" fmla="*/ 72632 h 220519"/>
                      <a:gd name="connsiteX35" fmla="*/ 247474 w 419725"/>
                      <a:gd name="connsiteY35" fmla="*/ 60335 h 220519"/>
                      <a:gd name="connsiteX36" fmla="*/ 358242 w 419725"/>
                      <a:gd name="connsiteY36" fmla="*/ 60335 h 220519"/>
                      <a:gd name="connsiteX37" fmla="*/ 370538 w 419725"/>
                      <a:gd name="connsiteY37" fmla="*/ 72632 h 220519"/>
                      <a:gd name="connsiteX38" fmla="*/ 358242 w 419725"/>
                      <a:gd name="connsiteY38" fmla="*/ 84929 h 2205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</a:cxnLst>
                    <a:rect l="l" t="t" r="r" b="b"/>
                    <a:pathLst>
                      <a:path w="419725" h="220519">
                        <a:moveTo>
                          <a:pt x="407428" y="0"/>
                        </a:moveTo>
                        <a:lnTo>
                          <a:pt x="12297" y="0"/>
                        </a:lnTo>
                        <a:cubicBezTo>
                          <a:pt x="5509" y="0"/>
                          <a:pt x="0" y="5509"/>
                          <a:pt x="0" y="12297"/>
                        </a:cubicBezTo>
                        <a:lnTo>
                          <a:pt x="0" y="220938"/>
                        </a:lnTo>
                        <a:lnTo>
                          <a:pt x="419725" y="220938"/>
                        </a:lnTo>
                        <a:lnTo>
                          <a:pt x="419725" y="12297"/>
                        </a:lnTo>
                        <a:cubicBezTo>
                          <a:pt x="419725" y="5509"/>
                          <a:pt x="414216" y="0"/>
                          <a:pt x="407428" y="0"/>
                        </a:cubicBezTo>
                        <a:close/>
                        <a:moveTo>
                          <a:pt x="167177" y="175596"/>
                        </a:moveTo>
                        <a:cubicBezTo>
                          <a:pt x="167177" y="182384"/>
                          <a:pt x="161676" y="187893"/>
                          <a:pt x="154880" y="187893"/>
                        </a:cubicBezTo>
                        <a:lnTo>
                          <a:pt x="67279" y="187893"/>
                        </a:lnTo>
                        <a:cubicBezTo>
                          <a:pt x="60483" y="187893"/>
                          <a:pt x="54982" y="182384"/>
                          <a:pt x="54982" y="175596"/>
                        </a:cubicBezTo>
                        <a:lnTo>
                          <a:pt x="54982" y="166029"/>
                        </a:lnTo>
                        <a:cubicBezTo>
                          <a:pt x="54982" y="146387"/>
                          <a:pt x="65131" y="129065"/>
                          <a:pt x="80469" y="119056"/>
                        </a:cubicBezTo>
                        <a:cubicBezTo>
                          <a:pt x="75796" y="112736"/>
                          <a:pt x="73026" y="104923"/>
                          <a:pt x="73026" y="96471"/>
                        </a:cubicBezTo>
                        <a:cubicBezTo>
                          <a:pt x="73026" y="75493"/>
                          <a:pt x="90102" y="58425"/>
                          <a:pt x="111080" y="58425"/>
                        </a:cubicBezTo>
                        <a:cubicBezTo>
                          <a:pt x="132058" y="58425"/>
                          <a:pt x="149134" y="75493"/>
                          <a:pt x="149134" y="96471"/>
                        </a:cubicBezTo>
                        <a:cubicBezTo>
                          <a:pt x="149134" y="104923"/>
                          <a:pt x="146363" y="112736"/>
                          <a:pt x="141690" y="119056"/>
                        </a:cubicBezTo>
                        <a:cubicBezTo>
                          <a:pt x="157028" y="129065"/>
                          <a:pt x="167177" y="146387"/>
                          <a:pt x="167177" y="166029"/>
                        </a:cubicBezTo>
                        <a:close/>
                        <a:moveTo>
                          <a:pt x="358242" y="183302"/>
                        </a:moveTo>
                        <a:lnTo>
                          <a:pt x="247474" y="183302"/>
                        </a:lnTo>
                        <a:cubicBezTo>
                          <a:pt x="240678" y="183302"/>
                          <a:pt x="235177" y="177793"/>
                          <a:pt x="235177" y="171005"/>
                        </a:cubicBezTo>
                        <a:cubicBezTo>
                          <a:pt x="235177" y="164209"/>
                          <a:pt x="240678" y="158709"/>
                          <a:pt x="247474" y="158709"/>
                        </a:cubicBezTo>
                        <a:lnTo>
                          <a:pt x="358242" y="158709"/>
                        </a:lnTo>
                        <a:cubicBezTo>
                          <a:pt x="365030" y="158709"/>
                          <a:pt x="370538" y="164209"/>
                          <a:pt x="370538" y="171005"/>
                        </a:cubicBezTo>
                        <a:cubicBezTo>
                          <a:pt x="370538" y="177793"/>
                          <a:pt x="365030" y="183302"/>
                          <a:pt x="358242" y="183302"/>
                        </a:cubicBezTo>
                        <a:close/>
                        <a:moveTo>
                          <a:pt x="358242" y="134115"/>
                        </a:moveTo>
                        <a:lnTo>
                          <a:pt x="247474" y="134115"/>
                        </a:lnTo>
                        <a:cubicBezTo>
                          <a:pt x="240678" y="134115"/>
                          <a:pt x="235177" y="128606"/>
                          <a:pt x="235177" y="121819"/>
                        </a:cubicBezTo>
                        <a:cubicBezTo>
                          <a:pt x="235177" y="115023"/>
                          <a:pt x="240678" y="109522"/>
                          <a:pt x="247474" y="109522"/>
                        </a:cubicBezTo>
                        <a:lnTo>
                          <a:pt x="358242" y="109522"/>
                        </a:lnTo>
                        <a:cubicBezTo>
                          <a:pt x="365030" y="109522"/>
                          <a:pt x="370538" y="115023"/>
                          <a:pt x="370538" y="121819"/>
                        </a:cubicBezTo>
                        <a:cubicBezTo>
                          <a:pt x="370538" y="128606"/>
                          <a:pt x="365030" y="134115"/>
                          <a:pt x="358242" y="134115"/>
                        </a:cubicBezTo>
                        <a:close/>
                        <a:moveTo>
                          <a:pt x="358242" y="84929"/>
                        </a:moveTo>
                        <a:lnTo>
                          <a:pt x="247474" y="84929"/>
                        </a:lnTo>
                        <a:cubicBezTo>
                          <a:pt x="240678" y="84929"/>
                          <a:pt x="235177" y="79420"/>
                          <a:pt x="235177" y="72632"/>
                        </a:cubicBezTo>
                        <a:cubicBezTo>
                          <a:pt x="235177" y="65836"/>
                          <a:pt x="240678" y="60335"/>
                          <a:pt x="247474" y="60335"/>
                        </a:cubicBezTo>
                        <a:lnTo>
                          <a:pt x="358242" y="60335"/>
                        </a:lnTo>
                        <a:cubicBezTo>
                          <a:pt x="365030" y="60335"/>
                          <a:pt x="370538" y="65836"/>
                          <a:pt x="370538" y="72632"/>
                        </a:cubicBezTo>
                        <a:cubicBezTo>
                          <a:pt x="370538" y="79420"/>
                          <a:pt x="365030" y="84929"/>
                          <a:pt x="358242" y="84929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72" name="Freeform: Shape 71">
                    <a:extLst>
                      <a:ext uri="{FF2B5EF4-FFF2-40B4-BE49-F238E27FC236}">
                        <a16:creationId xmlns:a16="http://schemas.microsoft.com/office/drawing/2014/main" id="{E91F45D1-27F2-4DCB-8805-AE7F738C87DE}"/>
                      </a:ext>
                    </a:extLst>
                  </p:cNvPr>
                  <p:cNvSpPr/>
                  <p:nvPr/>
                </p:nvSpPr>
                <p:spPr>
                  <a:xfrm>
                    <a:off x="9803562" y="1986423"/>
                    <a:ext cx="419725" cy="141001"/>
                  </a:xfrm>
                  <a:custGeom>
                    <a:avLst/>
                    <a:gdLst>
                      <a:gd name="connsiteX0" fmla="*/ 0 w 419725"/>
                      <a:gd name="connsiteY0" fmla="*/ 30717 h 141001"/>
                      <a:gd name="connsiteX1" fmla="*/ 12297 w 419725"/>
                      <a:gd name="connsiteY1" fmla="*/ 43014 h 141001"/>
                      <a:gd name="connsiteX2" fmla="*/ 180019 w 419725"/>
                      <a:gd name="connsiteY2" fmla="*/ 43014 h 141001"/>
                      <a:gd name="connsiteX3" fmla="*/ 180019 w 419725"/>
                      <a:gd name="connsiteY3" fmla="*/ 92200 h 141001"/>
                      <a:gd name="connsiteX4" fmla="*/ 156331 w 419725"/>
                      <a:gd name="connsiteY4" fmla="*/ 92200 h 141001"/>
                      <a:gd name="connsiteX5" fmla="*/ 115039 w 419725"/>
                      <a:gd name="connsiteY5" fmla="*/ 133500 h 141001"/>
                      <a:gd name="connsiteX6" fmla="*/ 117351 w 419725"/>
                      <a:gd name="connsiteY6" fmla="*/ 139075 h 141001"/>
                      <a:gd name="connsiteX7" fmla="*/ 122925 w 419725"/>
                      <a:gd name="connsiteY7" fmla="*/ 141387 h 141001"/>
                      <a:gd name="connsiteX8" fmla="*/ 296800 w 419725"/>
                      <a:gd name="connsiteY8" fmla="*/ 141387 h 141001"/>
                      <a:gd name="connsiteX9" fmla="*/ 304686 w 419725"/>
                      <a:gd name="connsiteY9" fmla="*/ 133500 h 141001"/>
                      <a:gd name="connsiteX10" fmla="*/ 292594 w 419725"/>
                      <a:gd name="connsiteY10" fmla="*/ 104292 h 141001"/>
                      <a:gd name="connsiteX11" fmla="*/ 263394 w 419725"/>
                      <a:gd name="connsiteY11" fmla="*/ 92200 h 141001"/>
                      <a:gd name="connsiteX12" fmla="*/ 239706 w 419725"/>
                      <a:gd name="connsiteY12" fmla="*/ 92200 h 141001"/>
                      <a:gd name="connsiteX13" fmla="*/ 239706 w 419725"/>
                      <a:gd name="connsiteY13" fmla="*/ 43014 h 141001"/>
                      <a:gd name="connsiteX14" fmla="*/ 407428 w 419725"/>
                      <a:gd name="connsiteY14" fmla="*/ 43014 h 141001"/>
                      <a:gd name="connsiteX15" fmla="*/ 419725 w 419725"/>
                      <a:gd name="connsiteY15" fmla="*/ 30717 h 141001"/>
                      <a:gd name="connsiteX16" fmla="*/ 419725 w 419725"/>
                      <a:gd name="connsiteY16" fmla="*/ 0 h 141001"/>
                      <a:gd name="connsiteX17" fmla="*/ 0 w 419725"/>
                      <a:gd name="connsiteY17" fmla="*/ 0 h 1410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419725" h="141001">
                        <a:moveTo>
                          <a:pt x="0" y="30717"/>
                        </a:moveTo>
                        <a:cubicBezTo>
                          <a:pt x="0" y="37505"/>
                          <a:pt x="5509" y="43014"/>
                          <a:pt x="12297" y="43014"/>
                        </a:cubicBezTo>
                        <a:lnTo>
                          <a:pt x="180019" y="43014"/>
                        </a:lnTo>
                        <a:lnTo>
                          <a:pt x="180019" y="92200"/>
                        </a:lnTo>
                        <a:lnTo>
                          <a:pt x="156331" y="92200"/>
                        </a:lnTo>
                        <a:cubicBezTo>
                          <a:pt x="133525" y="92200"/>
                          <a:pt x="115039" y="110686"/>
                          <a:pt x="115039" y="133500"/>
                        </a:cubicBezTo>
                        <a:cubicBezTo>
                          <a:pt x="115039" y="135681"/>
                          <a:pt x="115924" y="137648"/>
                          <a:pt x="117351" y="139075"/>
                        </a:cubicBezTo>
                        <a:cubicBezTo>
                          <a:pt x="118777" y="140501"/>
                          <a:pt x="120753" y="141387"/>
                          <a:pt x="122925" y="141387"/>
                        </a:cubicBezTo>
                        <a:lnTo>
                          <a:pt x="296800" y="141387"/>
                        </a:lnTo>
                        <a:cubicBezTo>
                          <a:pt x="301153" y="141387"/>
                          <a:pt x="304686" y="137853"/>
                          <a:pt x="304686" y="133500"/>
                        </a:cubicBezTo>
                        <a:cubicBezTo>
                          <a:pt x="304686" y="122089"/>
                          <a:pt x="300062" y="111768"/>
                          <a:pt x="292594" y="104292"/>
                        </a:cubicBezTo>
                        <a:cubicBezTo>
                          <a:pt x="285118" y="96824"/>
                          <a:pt x="274797" y="92200"/>
                          <a:pt x="263394" y="92200"/>
                        </a:cubicBezTo>
                        <a:lnTo>
                          <a:pt x="239706" y="92200"/>
                        </a:lnTo>
                        <a:lnTo>
                          <a:pt x="239706" y="43014"/>
                        </a:lnTo>
                        <a:lnTo>
                          <a:pt x="407428" y="43014"/>
                        </a:lnTo>
                        <a:cubicBezTo>
                          <a:pt x="414216" y="43014"/>
                          <a:pt x="419725" y="37505"/>
                          <a:pt x="419725" y="30717"/>
                        </a:cubicBezTo>
                        <a:lnTo>
                          <a:pt x="419725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DBF3AAF0-860A-4B17-9F1E-D928A20FF085}"/>
                </a:ext>
              </a:extLst>
            </p:cNvPr>
            <p:cNvGrpSpPr/>
            <p:nvPr/>
          </p:nvGrpSpPr>
          <p:grpSpPr>
            <a:xfrm>
              <a:off x="2429850" y="3187039"/>
              <a:ext cx="2670098" cy="684879"/>
              <a:chOff x="5529230" y="2364376"/>
              <a:chExt cx="2670098" cy="684879"/>
            </a:xfrm>
          </p:grpSpPr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9AB93725-D475-4C81-ACB9-76EE22FE6C7E}"/>
                  </a:ext>
                </a:extLst>
              </p:cNvPr>
              <p:cNvSpPr/>
              <p:nvPr/>
            </p:nvSpPr>
            <p:spPr>
              <a:xfrm>
                <a:off x="5802782" y="2364376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A8C2611A-78FB-47F1-ACB2-588454DB367F}"/>
                  </a:ext>
                </a:extLst>
              </p:cNvPr>
              <p:cNvSpPr txBox="1"/>
              <p:nvPr/>
            </p:nvSpPr>
            <p:spPr>
              <a:xfrm>
                <a:off x="6154437" y="2368541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bg1"/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CA771163-D9EB-4E4F-B17D-F1052A8390CB}"/>
                  </a:ext>
                </a:extLst>
              </p:cNvPr>
              <p:cNvSpPr txBox="1"/>
              <p:nvPr/>
            </p:nvSpPr>
            <p:spPr>
              <a:xfrm>
                <a:off x="6154437" y="2540136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accent2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EA5E932A-D25B-45BE-9932-C996FCF214EE}"/>
                  </a:ext>
                </a:extLst>
              </p:cNvPr>
              <p:cNvGrpSpPr/>
              <p:nvPr/>
            </p:nvGrpSpPr>
            <p:grpSpPr>
              <a:xfrm>
                <a:off x="5529230" y="2435701"/>
                <a:ext cx="547103" cy="559671"/>
                <a:chOff x="3461830" y="4604771"/>
                <a:chExt cx="547103" cy="559671"/>
              </a:xfrm>
            </p:grpSpPr>
            <p:sp>
              <p:nvSpPr>
                <p:cNvPr id="78" name="Rectangle: Rounded Corners 77">
                  <a:extLst>
                    <a:ext uri="{FF2B5EF4-FFF2-40B4-BE49-F238E27FC236}">
                      <a16:creationId xmlns:a16="http://schemas.microsoft.com/office/drawing/2014/main" id="{15437C18-2469-44D9-84DE-7F2B66D41829}"/>
                    </a:ext>
                  </a:extLst>
                </p:cNvPr>
                <p:cNvSpPr/>
                <p:nvPr/>
              </p:nvSpPr>
              <p:spPr>
                <a:xfrm>
                  <a:off x="3461830" y="4604771"/>
                  <a:ext cx="547103" cy="559671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2"/>
                    </a:gs>
                    <a:gs pos="0">
                      <a:schemeClr val="accent2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09" name="Graphic 12">
                  <a:extLst>
                    <a:ext uri="{FF2B5EF4-FFF2-40B4-BE49-F238E27FC236}">
                      <a16:creationId xmlns:a16="http://schemas.microsoft.com/office/drawing/2014/main" id="{35A1019B-93D6-41EA-92ED-8CAFB71DBC86}"/>
                    </a:ext>
                  </a:extLst>
                </p:cNvPr>
                <p:cNvGrpSpPr/>
                <p:nvPr/>
              </p:nvGrpSpPr>
              <p:grpSpPr>
                <a:xfrm>
                  <a:off x="3600205" y="4749430"/>
                  <a:ext cx="270352" cy="270352"/>
                  <a:chOff x="6640645" y="1724489"/>
                  <a:chExt cx="418905" cy="418905"/>
                </a:xfrm>
                <a:solidFill>
                  <a:schemeClr val="bg1"/>
                </a:solidFill>
              </p:grpSpPr>
              <p:sp>
                <p:nvSpPr>
                  <p:cNvPr id="110" name="Freeform: Shape 109">
                    <a:extLst>
                      <a:ext uri="{FF2B5EF4-FFF2-40B4-BE49-F238E27FC236}">
                        <a16:creationId xmlns:a16="http://schemas.microsoft.com/office/drawing/2014/main" id="{26313922-88CD-4930-9BAB-7E8D5616D981}"/>
                      </a:ext>
                    </a:extLst>
                  </p:cNvPr>
                  <p:cNvSpPr/>
                  <p:nvPr/>
                </p:nvSpPr>
                <p:spPr>
                  <a:xfrm>
                    <a:off x="6811107" y="1724489"/>
                    <a:ext cx="249212" cy="249212"/>
                  </a:xfrm>
                  <a:custGeom>
                    <a:avLst/>
                    <a:gdLst>
                      <a:gd name="connsiteX0" fmla="*/ 245654 w 249211"/>
                      <a:gd name="connsiteY0" fmla="*/ 176761 h 249211"/>
                      <a:gd name="connsiteX1" fmla="*/ 223446 w 249211"/>
                      <a:gd name="connsiteY1" fmla="*/ 198985 h 249211"/>
                      <a:gd name="connsiteX2" fmla="*/ 133779 w 249211"/>
                      <a:gd name="connsiteY2" fmla="*/ 211716 h 249211"/>
                      <a:gd name="connsiteX3" fmla="*/ 96250 w 249211"/>
                      <a:gd name="connsiteY3" fmla="*/ 249246 h 249211"/>
                      <a:gd name="connsiteX4" fmla="*/ 95963 w 249211"/>
                      <a:gd name="connsiteY4" fmla="*/ 248672 h 249211"/>
                      <a:gd name="connsiteX5" fmla="*/ 42358 w 249211"/>
                      <a:gd name="connsiteY5" fmla="*/ 183418 h 249211"/>
                      <a:gd name="connsiteX6" fmla="*/ 0 w 249211"/>
                      <a:gd name="connsiteY6" fmla="*/ 153020 h 249211"/>
                      <a:gd name="connsiteX7" fmla="*/ 37546 w 249211"/>
                      <a:gd name="connsiteY7" fmla="*/ 115475 h 249211"/>
                      <a:gd name="connsiteX8" fmla="*/ 50269 w 249211"/>
                      <a:gd name="connsiteY8" fmla="*/ 25816 h 249211"/>
                      <a:gd name="connsiteX9" fmla="*/ 72493 w 249211"/>
                      <a:gd name="connsiteY9" fmla="*/ 3600 h 249211"/>
                      <a:gd name="connsiteX10" fmla="*/ 89880 w 249211"/>
                      <a:gd name="connsiteY10" fmla="*/ 3600 h 249211"/>
                      <a:gd name="connsiteX11" fmla="*/ 245654 w 249211"/>
                      <a:gd name="connsiteY11" fmla="*/ 159374 h 249211"/>
                      <a:gd name="connsiteX12" fmla="*/ 245654 w 249211"/>
                      <a:gd name="connsiteY12" fmla="*/ 176761 h 2492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249211" h="249211">
                        <a:moveTo>
                          <a:pt x="245654" y="176761"/>
                        </a:moveTo>
                        <a:lnTo>
                          <a:pt x="223446" y="198985"/>
                        </a:lnTo>
                        <a:cubicBezTo>
                          <a:pt x="199779" y="222636"/>
                          <a:pt x="162996" y="227833"/>
                          <a:pt x="133779" y="211716"/>
                        </a:cubicBezTo>
                        <a:lnTo>
                          <a:pt x="96250" y="249246"/>
                        </a:lnTo>
                        <a:cubicBezTo>
                          <a:pt x="96151" y="249057"/>
                          <a:pt x="96061" y="248860"/>
                          <a:pt x="95963" y="248672"/>
                        </a:cubicBezTo>
                        <a:cubicBezTo>
                          <a:pt x="82073" y="220862"/>
                          <a:pt x="66849" y="207909"/>
                          <a:pt x="42358" y="183418"/>
                        </a:cubicBezTo>
                        <a:cubicBezTo>
                          <a:pt x="26907" y="167966"/>
                          <a:pt x="7916" y="156317"/>
                          <a:pt x="0" y="153020"/>
                        </a:cubicBezTo>
                        <a:lnTo>
                          <a:pt x="37546" y="115475"/>
                        </a:lnTo>
                        <a:cubicBezTo>
                          <a:pt x="21421" y="86291"/>
                          <a:pt x="26610" y="49483"/>
                          <a:pt x="50269" y="25816"/>
                        </a:cubicBezTo>
                        <a:lnTo>
                          <a:pt x="72493" y="3600"/>
                        </a:lnTo>
                        <a:cubicBezTo>
                          <a:pt x="77297" y="-1204"/>
                          <a:pt x="85084" y="-1196"/>
                          <a:pt x="89880" y="3600"/>
                        </a:cubicBezTo>
                        <a:lnTo>
                          <a:pt x="245654" y="159374"/>
                        </a:lnTo>
                        <a:cubicBezTo>
                          <a:pt x="250458" y="164177"/>
                          <a:pt x="250458" y="171965"/>
                          <a:pt x="245654" y="176761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1" name="Freeform: Shape 110">
                    <a:extLst>
                      <a:ext uri="{FF2B5EF4-FFF2-40B4-BE49-F238E27FC236}">
                        <a16:creationId xmlns:a16="http://schemas.microsoft.com/office/drawing/2014/main" id="{C86546CC-A075-4029-912A-24DE061219ED}"/>
                      </a:ext>
                    </a:extLst>
                  </p:cNvPr>
                  <p:cNvSpPr/>
                  <p:nvPr/>
                </p:nvSpPr>
                <p:spPr>
                  <a:xfrm>
                    <a:off x="6644861" y="2050351"/>
                    <a:ext cx="89356" cy="89356"/>
                  </a:xfrm>
                  <a:custGeom>
                    <a:avLst/>
                    <a:gdLst>
                      <a:gd name="connsiteX0" fmla="*/ 89647 w 89355"/>
                      <a:gd name="connsiteY0" fmla="*/ 17387 h 89355"/>
                      <a:gd name="connsiteX1" fmla="*/ 20999 w 89355"/>
                      <a:gd name="connsiteY1" fmla="*/ 86035 h 89355"/>
                      <a:gd name="connsiteX2" fmla="*/ 12301 w 89355"/>
                      <a:gd name="connsiteY2" fmla="*/ 89642 h 89355"/>
                      <a:gd name="connsiteX3" fmla="*/ 3603 w 89355"/>
                      <a:gd name="connsiteY3" fmla="*/ 86035 h 89355"/>
                      <a:gd name="connsiteX4" fmla="*/ 3603 w 89355"/>
                      <a:gd name="connsiteY4" fmla="*/ 68648 h 89355"/>
                      <a:gd name="connsiteX5" fmla="*/ 72259 w 89355"/>
                      <a:gd name="connsiteY5" fmla="*/ 0 h 893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9355" h="89355">
                        <a:moveTo>
                          <a:pt x="89647" y="17387"/>
                        </a:moveTo>
                        <a:lnTo>
                          <a:pt x="20999" y="86035"/>
                        </a:lnTo>
                        <a:cubicBezTo>
                          <a:pt x="18597" y="88437"/>
                          <a:pt x="15449" y="89642"/>
                          <a:pt x="12301" y="89642"/>
                        </a:cubicBezTo>
                        <a:cubicBezTo>
                          <a:pt x="9153" y="89642"/>
                          <a:pt x="6005" y="88437"/>
                          <a:pt x="3603" y="86035"/>
                        </a:cubicBezTo>
                        <a:cubicBezTo>
                          <a:pt x="-1201" y="81232"/>
                          <a:pt x="-1201" y="73452"/>
                          <a:pt x="3603" y="68648"/>
                        </a:cubicBezTo>
                        <a:lnTo>
                          <a:pt x="72259" y="0"/>
                        </a:ln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2" name="Freeform: Shape 111">
                    <a:extLst>
                      <a:ext uri="{FF2B5EF4-FFF2-40B4-BE49-F238E27FC236}">
                        <a16:creationId xmlns:a16="http://schemas.microsoft.com/office/drawing/2014/main" id="{A4BAB2EB-BE16-4719-84CB-C479C0468ED9}"/>
                      </a:ext>
                    </a:extLst>
                  </p:cNvPr>
                  <p:cNvSpPr/>
                  <p:nvPr/>
                </p:nvSpPr>
                <p:spPr>
                  <a:xfrm>
                    <a:off x="6640645" y="1885506"/>
                    <a:ext cx="258229" cy="258229"/>
                  </a:xfrm>
                  <a:custGeom>
                    <a:avLst/>
                    <a:gdLst>
                      <a:gd name="connsiteX0" fmla="*/ 258646 w 258229"/>
                      <a:gd name="connsiteY0" fmla="*/ 159188 h 258229"/>
                      <a:gd name="connsiteX1" fmla="*/ 218911 w 258229"/>
                      <a:gd name="connsiteY1" fmla="*/ 255110 h 258229"/>
                      <a:gd name="connsiteX2" fmla="*/ 201515 w 258229"/>
                      <a:gd name="connsiteY2" fmla="*/ 255110 h 258229"/>
                      <a:gd name="connsiteX3" fmla="*/ 3597 w 258229"/>
                      <a:gd name="connsiteY3" fmla="*/ 57183 h 258229"/>
                      <a:gd name="connsiteX4" fmla="*/ 3597 w 258229"/>
                      <a:gd name="connsiteY4" fmla="*/ 39796 h 258229"/>
                      <a:gd name="connsiteX5" fmla="*/ 160059 w 258229"/>
                      <a:gd name="connsiteY5" fmla="*/ 14284 h 258229"/>
                      <a:gd name="connsiteX6" fmla="*/ 218911 w 258229"/>
                      <a:gd name="connsiteY6" fmla="*/ 63266 h 258229"/>
                      <a:gd name="connsiteX7" fmla="*/ 258646 w 258229"/>
                      <a:gd name="connsiteY7" fmla="*/ 159188 h 2582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58229" h="258229">
                        <a:moveTo>
                          <a:pt x="258646" y="159188"/>
                        </a:moveTo>
                        <a:cubicBezTo>
                          <a:pt x="258629" y="194751"/>
                          <a:pt x="245023" y="228980"/>
                          <a:pt x="218911" y="255110"/>
                        </a:cubicBezTo>
                        <a:cubicBezTo>
                          <a:pt x="214137" y="259884"/>
                          <a:pt x="206351" y="259928"/>
                          <a:pt x="201515" y="255110"/>
                        </a:cubicBezTo>
                        <a:lnTo>
                          <a:pt x="3597" y="57183"/>
                        </a:lnTo>
                        <a:cubicBezTo>
                          <a:pt x="-1189" y="52397"/>
                          <a:pt x="-1209" y="44602"/>
                          <a:pt x="3597" y="39796"/>
                        </a:cubicBezTo>
                        <a:cubicBezTo>
                          <a:pt x="44922" y="-1529"/>
                          <a:pt x="107799" y="-11784"/>
                          <a:pt x="160059" y="14284"/>
                        </a:cubicBezTo>
                        <a:cubicBezTo>
                          <a:pt x="183785" y="26133"/>
                          <a:pt x="194326" y="38689"/>
                          <a:pt x="218911" y="63266"/>
                        </a:cubicBezTo>
                        <a:cubicBezTo>
                          <a:pt x="244534" y="88889"/>
                          <a:pt x="258646" y="123226"/>
                          <a:pt x="258646" y="159188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>
                      <a:solidFill>
                        <a:schemeClr val="bg1"/>
                      </a:solidFill>
                    </a:endParaRPr>
                  </a:p>
                </p:txBody>
              </p:sp>
            </p:grpSp>
          </p:grp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378CD77D-A9F2-4974-A570-00C97C58F981}"/>
                </a:ext>
              </a:extLst>
            </p:cNvPr>
            <p:cNvGrpSpPr/>
            <p:nvPr/>
          </p:nvGrpSpPr>
          <p:grpSpPr>
            <a:xfrm>
              <a:off x="975803" y="4052990"/>
              <a:ext cx="2670098" cy="684879"/>
              <a:chOff x="5529230" y="3187976"/>
              <a:chExt cx="2670098" cy="684879"/>
            </a:xfrm>
          </p:grpSpPr>
          <p:sp>
            <p:nvSpPr>
              <p:cNvPr id="114" name="Rectangle: Rounded Corners 113">
                <a:extLst>
                  <a:ext uri="{FF2B5EF4-FFF2-40B4-BE49-F238E27FC236}">
                    <a16:creationId xmlns:a16="http://schemas.microsoft.com/office/drawing/2014/main" id="{69CEAA86-420E-4301-BC06-B5CF125C1D24}"/>
                  </a:ext>
                </a:extLst>
              </p:cNvPr>
              <p:cNvSpPr/>
              <p:nvPr/>
            </p:nvSpPr>
            <p:spPr>
              <a:xfrm>
                <a:off x="5802782" y="3187976"/>
                <a:ext cx="2292251" cy="684879"/>
              </a:xfrm>
              <a:prstGeom prst="roundRect">
                <a:avLst>
                  <a:gd name="adj" fmla="val 17279"/>
                </a:avLst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>
                <a:outerShdw blurRad="482600" sx="88000" sy="88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F398069E-9E72-46F9-96EB-468A54A1F22C}"/>
                  </a:ext>
                </a:extLst>
              </p:cNvPr>
              <p:cNvSpPr txBox="1"/>
              <p:nvPr/>
            </p:nvSpPr>
            <p:spPr>
              <a:xfrm>
                <a:off x="6154437" y="3192141"/>
                <a:ext cx="1699273" cy="326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1200" dirty="0">
                    <a:solidFill>
                      <a:schemeClr val="bg1"/>
                    </a:solidFill>
                    <a:latin typeface="+mj-lt"/>
                  </a:rPr>
                  <a:t>Lorem ipsum dolor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EB59C682-E464-4381-94F3-C347878FF7A7}"/>
                  </a:ext>
                </a:extLst>
              </p:cNvPr>
              <p:cNvSpPr txBox="1"/>
              <p:nvPr/>
            </p:nvSpPr>
            <p:spPr>
              <a:xfrm>
                <a:off x="6154437" y="3363736"/>
                <a:ext cx="2044891" cy="473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40000"/>
                  </a:lnSpc>
                </a:pPr>
                <a:r>
                  <a:rPr lang="en-US" sz="2000" b="1" dirty="0">
                    <a:solidFill>
                      <a:schemeClr val="bg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21.000-36.021</a:t>
                </a:r>
              </a:p>
            </p:txBody>
          </p: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91B7DD7A-38A7-4EF7-B3D1-1F3F11FD85A9}"/>
                  </a:ext>
                </a:extLst>
              </p:cNvPr>
              <p:cNvGrpSpPr/>
              <p:nvPr/>
            </p:nvGrpSpPr>
            <p:grpSpPr>
              <a:xfrm>
                <a:off x="5529230" y="3259301"/>
                <a:ext cx="547103" cy="559671"/>
                <a:chOff x="8878424" y="402445"/>
                <a:chExt cx="655537" cy="670596"/>
              </a:xfrm>
            </p:grpSpPr>
            <p:sp>
              <p:nvSpPr>
                <p:cNvPr id="118" name="Rectangle: Rounded Corners 117">
                  <a:extLst>
                    <a:ext uri="{FF2B5EF4-FFF2-40B4-BE49-F238E27FC236}">
                      <a16:creationId xmlns:a16="http://schemas.microsoft.com/office/drawing/2014/main" id="{011EE2DC-2191-4766-AA4E-486D29039751}"/>
                    </a:ext>
                  </a:extLst>
                </p:cNvPr>
                <p:cNvSpPr/>
                <p:nvPr/>
              </p:nvSpPr>
              <p:spPr>
                <a:xfrm>
                  <a:off x="8878424" y="402445"/>
                  <a:ext cx="655537" cy="670596"/>
                </a:xfrm>
                <a:prstGeom prst="roundRect">
                  <a:avLst>
                    <a:gd name="adj" fmla="val 26931"/>
                  </a:avLst>
                </a:prstGeom>
                <a:gradFill>
                  <a:gsLst>
                    <a:gs pos="100000">
                      <a:schemeClr val="accent1"/>
                    </a:gs>
                    <a:gs pos="0">
                      <a:schemeClr val="accent1">
                        <a:lumMod val="60000"/>
                        <a:lumOff val="40000"/>
                      </a:schemeClr>
                    </a:gs>
                  </a:gsLst>
                  <a:lin ang="2700000" scaled="0"/>
                </a:gradFill>
                <a:ln>
                  <a:noFill/>
                </a:ln>
                <a:effectLst>
                  <a:outerShdw blurRad="469900" dist="139700" dir="8100000" sx="90000" sy="90000" algn="tr" rotWithShape="0">
                    <a:prstClr val="black">
                      <a:alpha val="10000"/>
                    </a:prstClr>
                  </a:outerShdw>
                  <a:softEdge rad="5080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19" name="Graphic 39">
                  <a:extLst>
                    <a:ext uri="{FF2B5EF4-FFF2-40B4-BE49-F238E27FC236}">
                      <a16:creationId xmlns:a16="http://schemas.microsoft.com/office/drawing/2014/main" id="{E1999630-5D37-4AE7-8D1F-5473833E7366}"/>
                    </a:ext>
                  </a:extLst>
                </p:cNvPr>
                <p:cNvGrpSpPr/>
                <p:nvPr/>
              </p:nvGrpSpPr>
              <p:grpSpPr>
                <a:xfrm>
                  <a:off x="9070751" y="602568"/>
                  <a:ext cx="270882" cy="270352"/>
                  <a:chOff x="5306516" y="1725739"/>
                  <a:chExt cx="419725" cy="418905"/>
                </a:xfrm>
                <a:solidFill>
                  <a:schemeClr val="bg1"/>
                </a:solidFill>
              </p:grpSpPr>
              <p:sp>
                <p:nvSpPr>
                  <p:cNvPr id="120" name="Freeform: Shape 119">
                    <a:extLst>
                      <a:ext uri="{FF2B5EF4-FFF2-40B4-BE49-F238E27FC236}">
                        <a16:creationId xmlns:a16="http://schemas.microsoft.com/office/drawing/2014/main" id="{749D3DD1-4498-4B7B-9395-DAA99F9DC9F8}"/>
                      </a:ext>
                    </a:extLst>
                  </p:cNvPr>
                  <p:cNvSpPr/>
                  <p:nvPr/>
                </p:nvSpPr>
                <p:spPr>
                  <a:xfrm>
                    <a:off x="5371373" y="1878194"/>
                    <a:ext cx="201665" cy="201665"/>
                  </a:xfrm>
                  <a:custGeom>
                    <a:avLst/>
                    <a:gdLst>
                      <a:gd name="connsiteX0" fmla="*/ 64620 w 201664"/>
                      <a:gd name="connsiteY0" fmla="*/ 193721 h 201664"/>
                      <a:gd name="connsiteX1" fmla="*/ 12928 w 201664"/>
                      <a:gd name="connsiteY1" fmla="*/ 202259 h 201664"/>
                      <a:gd name="connsiteX2" fmla="*/ 153 w 201664"/>
                      <a:gd name="connsiteY2" fmla="*/ 189484 h 201664"/>
                      <a:gd name="connsiteX3" fmla="*/ 8691 w 201664"/>
                      <a:gd name="connsiteY3" fmla="*/ 137793 h 201664"/>
                      <a:gd name="connsiteX4" fmla="*/ 17778 w 201664"/>
                      <a:gd name="connsiteY4" fmla="*/ 133340 h 201664"/>
                      <a:gd name="connsiteX5" fmla="*/ 28610 w 201664"/>
                      <a:gd name="connsiteY5" fmla="*/ 133738 h 201664"/>
                      <a:gd name="connsiteX6" fmla="*/ 28679 w 201664"/>
                      <a:gd name="connsiteY6" fmla="*/ 133704 h 201664"/>
                      <a:gd name="connsiteX7" fmla="*/ 197428 w 201664"/>
                      <a:gd name="connsiteY7" fmla="*/ 658 h 201664"/>
                      <a:gd name="connsiteX8" fmla="*/ 201753 w 201664"/>
                      <a:gd name="connsiteY8" fmla="*/ 4983 h 201664"/>
                      <a:gd name="connsiteX9" fmla="*/ 68270 w 201664"/>
                      <a:gd name="connsiteY9" fmla="*/ 174944 h 201664"/>
                      <a:gd name="connsiteX10" fmla="*/ 69074 w 201664"/>
                      <a:gd name="connsiteY10" fmla="*/ 184638 h 201664"/>
                      <a:gd name="connsiteX11" fmla="*/ 64620 w 201664"/>
                      <a:gd name="connsiteY11" fmla="*/ 193721 h 2016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201664" h="201664">
                        <a:moveTo>
                          <a:pt x="64620" y="193721"/>
                        </a:moveTo>
                        <a:lnTo>
                          <a:pt x="12928" y="202259"/>
                        </a:lnTo>
                        <a:cubicBezTo>
                          <a:pt x="5418" y="203500"/>
                          <a:pt x="-1088" y="196994"/>
                          <a:pt x="153" y="189484"/>
                        </a:cubicBezTo>
                        <a:lnTo>
                          <a:pt x="8691" y="137793"/>
                        </a:lnTo>
                        <a:cubicBezTo>
                          <a:pt x="9387" y="133581"/>
                          <a:pt x="14071" y="131223"/>
                          <a:pt x="17778" y="133340"/>
                        </a:cubicBezTo>
                        <a:cubicBezTo>
                          <a:pt x="20694" y="135004"/>
                          <a:pt x="24205" y="135677"/>
                          <a:pt x="28610" y="133738"/>
                        </a:cubicBezTo>
                        <a:cubicBezTo>
                          <a:pt x="28636" y="133730"/>
                          <a:pt x="28662" y="133721"/>
                          <a:pt x="28679" y="133704"/>
                        </a:cubicBezTo>
                        <a:cubicBezTo>
                          <a:pt x="30671" y="132878"/>
                          <a:pt x="45184" y="115919"/>
                          <a:pt x="197428" y="658"/>
                        </a:cubicBezTo>
                        <a:cubicBezTo>
                          <a:pt x="200288" y="-1506"/>
                          <a:pt x="203918" y="2124"/>
                          <a:pt x="201753" y="4983"/>
                        </a:cubicBezTo>
                        <a:cubicBezTo>
                          <a:pt x="85709" y="158230"/>
                          <a:pt x="69188" y="171910"/>
                          <a:pt x="68270" y="174944"/>
                        </a:cubicBezTo>
                        <a:cubicBezTo>
                          <a:pt x="67019" y="179006"/>
                          <a:pt x="67593" y="182034"/>
                          <a:pt x="69074" y="184638"/>
                        </a:cubicBezTo>
                        <a:cubicBezTo>
                          <a:pt x="71182" y="188348"/>
                          <a:pt x="68830" y="193026"/>
                          <a:pt x="64620" y="193721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: Shape 120">
                    <a:extLst>
                      <a:ext uri="{FF2B5EF4-FFF2-40B4-BE49-F238E27FC236}">
                        <a16:creationId xmlns:a16="http://schemas.microsoft.com/office/drawing/2014/main" id="{F231093A-3392-46E0-BC04-9CF2C73B1D9D}"/>
                      </a:ext>
                    </a:extLst>
                  </p:cNvPr>
                  <p:cNvSpPr/>
                  <p:nvPr/>
                </p:nvSpPr>
                <p:spPr>
                  <a:xfrm>
                    <a:off x="5306516" y="1725739"/>
                    <a:ext cx="419725" cy="418905"/>
                  </a:xfrm>
                  <a:custGeom>
                    <a:avLst/>
                    <a:gdLst>
                      <a:gd name="connsiteX0" fmla="*/ 419194 w 419725"/>
                      <a:gd name="connsiteY0" fmla="*/ 11221 h 418905"/>
                      <a:gd name="connsiteX1" fmla="*/ 272302 w 419725"/>
                      <a:gd name="connsiteY1" fmla="*/ 409937 h 418905"/>
                      <a:gd name="connsiteX2" fmla="*/ 247701 w 419725"/>
                      <a:gd name="connsiteY2" fmla="*/ 415340 h 418905"/>
                      <a:gd name="connsiteX3" fmla="*/ 171795 w 419725"/>
                      <a:gd name="connsiteY3" fmla="*/ 339435 h 418905"/>
                      <a:gd name="connsiteX4" fmla="*/ 170427 w 419725"/>
                      <a:gd name="connsiteY4" fmla="*/ 319548 h 418905"/>
                      <a:gd name="connsiteX5" fmla="*/ 333066 w 419725"/>
                      <a:gd name="connsiteY5" fmla="*/ 104712 h 418905"/>
                      <a:gd name="connsiteX6" fmla="*/ 315014 w 419725"/>
                      <a:gd name="connsiteY6" fmla="*/ 86660 h 418905"/>
                      <a:gd name="connsiteX7" fmla="*/ 100178 w 419725"/>
                      <a:gd name="connsiteY7" fmla="*/ 249300 h 418905"/>
                      <a:gd name="connsiteX8" fmla="*/ 80290 w 419725"/>
                      <a:gd name="connsiteY8" fmla="*/ 247931 h 418905"/>
                      <a:gd name="connsiteX9" fmla="*/ 4385 w 419725"/>
                      <a:gd name="connsiteY9" fmla="*/ 172025 h 418905"/>
                      <a:gd name="connsiteX10" fmla="*/ 9788 w 419725"/>
                      <a:gd name="connsiteY10" fmla="*/ 147424 h 418905"/>
                      <a:gd name="connsiteX11" fmla="*/ 408505 w 419725"/>
                      <a:gd name="connsiteY11" fmla="*/ 531 h 418905"/>
                      <a:gd name="connsiteX12" fmla="*/ 419194 w 419725"/>
                      <a:gd name="connsiteY12" fmla="*/ 11221 h 4189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419725" h="418905">
                        <a:moveTo>
                          <a:pt x="419194" y="11221"/>
                        </a:moveTo>
                        <a:lnTo>
                          <a:pt x="272302" y="409937"/>
                        </a:lnTo>
                        <a:cubicBezTo>
                          <a:pt x="268530" y="420175"/>
                          <a:pt x="255416" y="423056"/>
                          <a:pt x="247701" y="415340"/>
                        </a:cubicBezTo>
                        <a:lnTo>
                          <a:pt x="171795" y="339435"/>
                        </a:lnTo>
                        <a:cubicBezTo>
                          <a:pt x="166438" y="334077"/>
                          <a:pt x="165853" y="325589"/>
                          <a:pt x="170427" y="319548"/>
                        </a:cubicBezTo>
                        <a:lnTo>
                          <a:pt x="333066" y="104712"/>
                        </a:lnTo>
                        <a:cubicBezTo>
                          <a:pt x="342279" y="92379"/>
                          <a:pt x="326544" y="77987"/>
                          <a:pt x="315014" y="86660"/>
                        </a:cubicBezTo>
                        <a:lnTo>
                          <a:pt x="100178" y="249300"/>
                        </a:lnTo>
                        <a:cubicBezTo>
                          <a:pt x="94137" y="253873"/>
                          <a:pt x="85648" y="253289"/>
                          <a:pt x="80290" y="247931"/>
                        </a:cubicBezTo>
                        <a:lnTo>
                          <a:pt x="4385" y="172025"/>
                        </a:lnTo>
                        <a:cubicBezTo>
                          <a:pt x="-3331" y="164309"/>
                          <a:pt x="-450" y="151195"/>
                          <a:pt x="9788" y="147424"/>
                        </a:cubicBezTo>
                        <a:lnTo>
                          <a:pt x="408505" y="531"/>
                        </a:lnTo>
                        <a:cubicBezTo>
                          <a:pt x="415169" y="-1924"/>
                          <a:pt x="421650" y="4556"/>
                          <a:pt x="419194" y="11221"/>
                        </a:cubicBezTo>
                        <a:close/>
                      </a:path>
                    </a:pathLst>
                  </a:custGeom>
                  <a:grpFill/>
                  <a:ln w="819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US"/>
                  </a:p>
                </p:txBody>
              </p:sp>
            </p:grpSp>
          </p:grpSp>
        </p:grp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A85D99CE-BEED-45B8-8872-FBF9F62C6985}"/>
              </a:ext>
            </a:extLst>
          </p:cNvPr>
          <p:cNvSpPr txBox="1"/>
          <p:nvPr/>
        </p:nvSpPr>
        <p:spPr>
          <a:xfrm>
            <a:off x="1225561" y="713213"/>
            <a:ext cx="531463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D Stairs Infographic </a:t>
            </a:r>
            <a:endParaRPr lang="en-ID" sz="44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128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Infographic Freebies Color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935CFF"/>
      </a:accent1>
      <a:accent2>
        <a:srgbClr val="FFC729"/>
      </a:accent2>
      <a:accent3>
        <a:srgbClr val="76C9F2"/>
      </a:accent3>
      <a:accent4>
        <a:srgbClr val="FD9D67"/>
      </a:accent4>
      <a:accent5>
        <a:srgbClr val="88F561"/>
      </a:accent5>
      <a:accent6>
        <a:srgbClr val="F6B4D3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</TotalTime>
  <Words>652</Words>
  <PresentationFormat>Widescreen</PresentationFormat>
  <Paragraphs>138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Calibri Light</vt:lpstr>
      <vt:lpstr>Nexa Bold</vt:lpstr>
      <vt:lpstr>Raleway</vt:lpstr>
      <vt:lpstr>Segoe UI</vt:lpstr>
      <vt:lpstr>Segoe UI Semibold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dcterms:created xsi:type="dcterms:W3CDTF">2020-12-02T14:02:29Z</dcterms:created>
  <dcterms:modified xsi:type="dcterms:W3CDTF">2021-07-23T04:14:53Z</dcterms:modified>
</cp:coreProperties>
</file>